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3"/>
  </p:notesMasterIdLst>
  <p:sldIdLst>
    <p:sldId id="256" r:id="rId5"/>
    <p:sldId id="301" r:id="rId6"/>
    <p:sldId id="297" r:id="rId7"/>
    <p:sldId id="308" r:id="rId8"/>
    <p:sldId id="305" r:id="rId9"/>
    <p:sldId id="302" r:id="rId10"/>
    <p:sldId id="306" r:id="rId11"/>
    <p:sldId id="304" r:id="rId12"/>
    <p:sldId id="312" r:id="rId13"/>
    <p:sldId id="313" r:id="rId14"/>
    <p:sldId id="303" r:id="rId15"/>
    <p:sldId id="294" r:id="rId16"/>
    <p:sldId id="295" r:id="rId17"/>
    <p:sldId id="280" r:id="rId18"/>
    <p:sldId id="315" r:id="rId19"/>
    <p:sldId id="314" r:id="rId20"/>
    <p:sldId id="271" r:id="rId21"/>
    <p:sldId id="258" r:id="rId22"/>
  </p:sldIdLst>
  <p:sldSz cx="12192000" cy="6858000"/>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llack, Scott C" initials="BSC" lastIdx="1" clrIdx="0">
    <p:extLst>
      <p:ext uri="{19B8F6BF-5375-455C-9EA6-DF929625EA0E}">
        <p15:presenceInfo xmlns:p15="http://schemas.microsoft.com/office/powerpoint/2012/main" userId="Bellack, Scott 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99FF"/>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8452" autoAdjust="0"/>
  </p:normalViewPr>
  <p:slideViewPr>
    <p:cSldViewPr snapToGrid="0" snapToObjects="1">
      <p:cViewPr varScale="1">
        <p:scale>
          <a:sx n="77" d="100"/>
          <a:sy n="77" d="100"/>
        </p:scale>
        <p:origin x="682" y="101"/>
      </p:cViewPr>
      <p:guideLst>
        <p:guide orient="horz" pos="2160"/>
        <p:guide pos="384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BC044D-91F2-4A30-B068-A9863D1A704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1F3B559-2EAF-4365-B347-4B161320BFAE}">
      <dgm:prSet phldrT="[Text]"/>
      <dgm:spPr/>
      <dgm:t>
        <a:bodyPr/>
        <a:lstStyle/>
        <a:p>
          <a:r>
            <a:rPr lang="en-US" dirty="0" smtClean="0"/>
            <a:t>Social Media on Campus</a:t>
          </a:r>
          <a:endParaRPr lang="en-US" dirty="0"/>
        </a:p>
      </dgm:t>
    </dgm:pt>
    <dgm:pt modelId="{2EA37228-CDC9-4D47-BFD0-735E4885900E}" type="parTrans" cxnId="{35E396B3-9333-4970-BE08-FC581BB21D5E}">
      <dgm:prSet/>
      <dgm:spPr/>
      <dgm:t>
        <a:bodyPr/>
        <a:lstStyle/>
        <a:p>
          <a:endParaRPr lang="en-US"/>
        </a:p>
      </dgm:t>
    </dgm:pt>
    <dgm:pt modelId="{3DC303BE-7F28-43E4-9BF3-43AA677E20EB}" type="sibTrans" cxnId="{35E396B3-9333-4970-BE08-FC581BB21D5E}">
      <dgm:prSet/>
      <dgm:spPr/>
      <dgm:t>
        <a:bodyPr/>
        <a:lstStyle/>
        <a:p>
          <a:endParaRPr lang="en-US"/>
        </a:p>
      </dgm:t>
    </dgm:pt>
    <dgm:pt modelId="{8D1640D8-E92B-42B6-A55B-17EBEDE6B12C}">
      <dgm:prSet phldrT="[Text]"/>
      <dgm:spPr/>
      <dgm:t>
        <a:bodyPr/>
        <a:lstStyle/>
        <a:p>
          <a:r>
            <a:rPr lang="en-US" dirty="0" smtClean="0"/>
            <a:t>Health Impacts</a:t>
          </a:r>
          <a:endParaRPr lang="en-US" dirty="0"/>
        </a:p>
      </dgm:t>
    </dgm:pt>
    <dgm:pt modelId="{767E34AA-D24F-498C-B59E-6233CE353BE5}" type="parTrans" cxnId="{814F736B-8E11-401A-8D6C-CF134CC74F47}">
      <dgm:prSet/>
      <dgm:spPr/>
      <dgm:t>
        <a:bodyPr/>
        <a:lstStyle/>
        <a:p>
          <a:endParaRPr lang="en-US"/>
        </a:p>
      </dgm:t>
    </dgm:pt>
    <dgm:pt modelId="{172EF0A7-79ED-40FD-99E5-543633F398EB}" type="sibTrans" cxnId="{814F736B-8E11-401A-8D6C-CF134CC74F47}">
      <dgm:prSet/>
      <dgm:spPr/>
      <dgm:t>
        <a:bodyPr/>
        <a:lstStyle/>
        <a:p>
          <a:endParaRPr lang="en-US"/>
        </a:p>
      </dgm:t>
    </dgm:pt>
    <dgm:pt modelId="{B0B2BD98-22B9-4C17-BB9D-594921C09322}">
      <dgm:prSet phldrT="[Text]"/>
      <dgm:spPr/>
      <dgm:t>
        <a:bodyPr/>
        <a:lstStyle/>
        <a:p>
          <a:r>
            <a:rPr lang="en-US" dirty="0" smtClean="0"/>
            <a:t>Faculty &amp; Staff</a:t>
          </a:r>
          <a:endParaRPr lang="en-US" dirty="0"/>
        </a:p>
      </dgm:t>
    </dgm:pt>
    <dgm:pt modelId="{D20E2EFF-BC83-4798-9211-68DEB2D34BCE}" type="parTrans" cxnId="{26009612-249D-45D0-A142-1528573C0295}">
      <dgm:prSet/>
      <dgm:spPr/>
      <dgm:t>
        <a:bodyPr/>
        <a:lstStyle/>
        <a:p>
          <a:endParaRPr lang="en-US"/>
        </a:p>
      </dgm:t>
    </dgm:pt>
    <dgm:pt modelId="{7428A367-2063-46BD-9F1D-2015ECAA9542}" type="sibTrans" cxnId="{26009612-249D-45D0-A142-1528573C0295}">
      <dgm:prSet/>
      <dgm:spPr/>
      <dgm:t>
        <a:bodyPr/>
        <a:lstStyle/>
        <a:p>
          <a:endParaRPr lang="en-US"/>
        </a:p>
      </dgm:t>
    </dgm:pt>
    <dgm:pt modelId="{6A2CE73B-AC83-4C7D-AF03-F91C56CB3932}">
      <dgm:prSet/>
      <dgm:spPr/>
      <dgm:t>
        <a:bodyPr/>
        <a:lstStyle/>
        <a:p>
          <a:r>
            <a:rPr lang="en-US" dirty="0" smtClean="0"/>
            <a:t>Safety &amp; Security Concerns</a:t>
          </a:r>
          <a:endParaRPr lang="en-US" dirty="0"/>
        </a:p>
      </dgm:t>
    </dgm:pt>
    <dgm:pt modelId="{4F902847-09FA-44A4-9372-9AC40A15AF42}" type="sibTrans" cxnId="{50C977BD-B6F1-450C-BB0C-D8C19CB45A3C}">
      <dgm:prSet/>
      <dgm:spPr/>
      <dgm:t>
        <a:bodyPr/>
        <a:lstStyle/>
        <a:p>
          <a:endParaRPr lang="en-US"/>
        </a:p>
      </dgm:t>
    </dgm:pt>
    <dgm:pt modelId="{41DCADC0-D547-4623-909C-E5E8C7695E53}" type="parTrans" cxnId="{50C977BD-B6F1-450C-BB0C-D8C19CB45A3C}">
      <dgm:prSet/>
      <dgm:spPr/>
      <dgm:t>
        <a:bodyPr/>
        <a:lstStyle/>
        <a:p>
          <a:endParaRPr lang="en-US"/>
        </a:p>
      </dgm:t>
    </dgm:pt>
    <dgm:pt modelId="{0D630A69-A7D1-4FB7-9877-D70E25FEBBDF}">
      <dgm:prSet/>
      <dgm:spPr/>
      <dgm:t>
        <a:bodyPr/>
        <a:lstStyle/>
        <a:p>
          <a:r>
            <a:rPr lang="en-US" dirty="0" smtClean="0"/>
            <a:t>Addictive Quality of Social Media</a:t>
          </a:r>
          <a:endParaRPr lang="en-US" dirty="0"/>
        </a:p>
      </dgm:t>
    </dgm:pt>
    <dgm:pt modelId="{9FFBCB03-3CA9-4DCD-8839-D3029DF2E8D3}" type="parTrans" cxnId="{AB19EDF9-3DB6-48A5-B52F-66A99F302A4F}">
      <dgm:prSet/>
      <dgm:spPr/>
      <dgm:t>
        <a:bodyPr/>
        <a:lstStyle/>
        <a:p>
          <a:endParaRPr lang="en-US"/>
        </a:p>
      </dgm:t>
    </dgm:pt>
    <dgm:pt modelId="{36D82B5F-A289-4557-916F-836644B9DFD8}" type="sibTrans" cxnId="{AB19EDF9-3DB6-48A5-B52F-66A99F302A4F}">
      <dgm:prSet/>
      <dgm:spPr/>
      <dgm:t>
        <a:bodyPr/>
        <a:lstStyle/>
        <a:p>
          <a:endParaRPr lang="en-US"/>
        </a:p>
      </dgm:t>
    </dgm:pt>
    <dgm:pt modelId="{1379F31A-6DF7-4019-B02D-5F7762CD36E5}">
      <dgm:prSet/>
      <dgm:spPr/>
      <dgm:t>
        <a:bodyPr/>
        <a:lstStyle/>
        <a:p>
          <a:r>
            <a:rPr lang="en-US" dirty="0" smtClean="0"/>
            <a:t>Next Steps</a:t>
          </a:r>
          <a:endParaRPr lang="en-US" dirty="0"/>
        </a:p>
      </dgm:t>
    </dgm:pt>
    <dgm:pt modelId="{6D0D5E86-65E7-43EE-96A8-90EDC6B4E7E9}" type="parTrans" cxnId="{81FDF485-8800-4D14-B37C-23AF8050FD7A}">
      <dgm:prSet/>
      <dgm:spPr/>
    </dgm:pt>
    <dgm:pt modelId="{984AA16B-4623-4245-80A0-DC3E677FD7C8}" type="sibTrans" cxnId="{81FDF485-8800-4D14-B37C-23AF8050FD7A}">
      <dgm:prSet/>
      <dgm:spPr/>
    </dgm:pt>
    <dgm:pt modelId="{0AE45C58-62CC-4EBE-822D-9984E1AB6C8F}" type="pres">
      <dgm:prSet presAssocID="{C3BC044D-91F2-4A30-B068-A9863D1A704B}" presName="linear" presStyleCnt="0">
        <dgm:presLayoutVars>
          <dgm:dir/>
          <dgm:animLvl val="lvl"/>
          <dgm:resizeHandles val="exact"/>
        </dgm:presLayoutVars>
      </dgm:prSet>
      <dgm:spPr/>
      <dgm:t>
        <a:bodyPr/>
        <a:lstStyle/>
        <a:p>
          <a:endParaRPr lang="en-US"/>
        </a:p>
      </dgm:t>
    </dgm:pt>
    <dgm:pt modelId="{E1962F02-1B3F-4CEA-A31F-CD624BC79259}" type="pres">
      <dgm:prSet presAssocID="{F1F3B559-2EAF-4365-B347-4B161320BFAE}" presName="parentLin" presStyleCnt="0"/>
      <dgm:spPr/>
    </dgm:pt>
    <dgm:pt modelId="{2DB95F5B-0A18-453D-81A7-F5B422D499DE}" type="pres">
      <dgm:prSet presAssocID="{F1F3B559-2EAF-4365-B347-4B161320BFAE}" presName="parentLeftMargin" presStyleLbl="node1" presStyleIdx="0" presStyleCnt="6"/>
      <dgm:spPr/>
      <dgm:t>
        <a:bodyPr/>
        <a:lstStyle/>
        <a:p>
          <a:endParaRPr lang="en-US"/>
        </a:p>
      </dgm:t>
    </dgm:pt>
    <dgm:pt modelId="{1B35379C-00D4-422F-A20A-BFE8B788C596}" type="pres">
      <dgm:prSet presAssocID="{F1F3B559-2EAF-4365-B347-4B161320BFAE}" presName="parentText" presStyleLbl="node1" presStyleIdx="0" presStyleCnt="6">
        <dgm:presLayoutVars>
          <dgm:chMax val="0"/>
          <dgm:bulletEnabled val="1"/>
        </dgm:presLayoutVars>
      </dgm:prSet>
      <dgm:spPr/>
      <dgm:t>
        <a:bodyPr/>
        <a:lstStyle/>
        <a:p>
          <a:endParaRPr lang="en-US"/>
        </a:p>
      </dgm:t>
    </dgm:pt>
    <dgm:pt modelId="{5592D7C6-2160-4E55-9387-C46DA895F427}" type="pres">
      <dgm:prSet presAssocID="{F1F3B559-2EAF-4365-B347-4B161320BFAE}" presName="negativeSpace" presStyleCnt="0"/>
      <dgm:spPr/>
    </dgm:pt>
    <dgm:pt modelId="{40CF94C0-3C24-4EBC-9B86-1223E849A8EF}" type="pres">
      <dgm:prSet presAssocID="{F1F3B559-2EAF-4365-B347-4B161320BFAE}" presName="childText" presStyleLbl="conFgAcc1" presStyleIdx="0" presStyleCnt="6">
        <dgm:presLayoutVars>
          <dgm:bulletEnabled val="1"/>
        </dgm:presLayoutVars>
      </dgm:prSet>
      <dgm:spPr/>
    </dgm:pt>
    <dgm:pt modelId="{37AB7EC7-CD67-424B-8724-9E8B079A7BFF}" type="pres">
      <dgm:prSet presAssocID="{3DC303BE-7F28-43E4-9BF3-43AA677E20EB}" presName="spaceBetweenRectangles" presStyleCnt="0"/>
      <dgm:spPr/>
    </dgm:pt>
    <dgm:pt modelId="{09B19D3D-649D-468B-8DEC-4A60F18B1DFA}" type="pres">
      <dgm:prSet presAssocID="{0D630A69-A7D1-4FB7-9877-D70E25FEBBDF}" presName="parentLin" presStyleCnt="0"/>
      <dgm:spPr/>
    </dgm:pt>
    <dgm:pt modelId="{4C6C6A67-30FB-47E8-8BCD-9B6B870DD6D7}" type="pres">
      <dgm:prSet presAssocID="{0D630A69-A7D1-4FB7-9877-D70E25FEBBDF}" presName="parentLeftMargin" presStyleLbl="node1" presStyleIdx="0" presStyleCnt="6"/>
      <dgm:spPr/>
      <dgm:t>
        <a:bodyPr/>
        <a:lstStyle/>
        <a:p>
          <a:endParaRPr lang="en-US"/>
        </a:p>
      </dgm:t>
    </dgm:pt>
    <dgm:pt modelId="{84AA7246-90C1-4DF2-AB07-7CCB31C3B611}" type="pres">
      <dgm:prSet presAssocID="{0D630A69-A7D1-4FB7-9877-D70E25FEBBDF}" presName="parentText" presStyleLbl="node1" presStyleIdx="1" presStyleCnt="6">
        <dgm:presLayoutVars>
          <dgm:chMax val="0"/>
          <dgm:bulletEnabled val="1"/>
        </dgm:presLayoutVars>
      </dgm:prSet>
      <dgm:spPr/>
      <dgm:t>
        <a:bodyPr/>
        <a:lstStyle/>
        <a:p>
          <a:endParaRPr lang="en-US"/>
        </a:p>
      </dgm:t>
    </dgm:pt>
    <dgm:pt modelId="{4ADE5188-AE9A-46BC-9FEA-512ED700F2CA}" type="pres">
      <dgm:prSet presAssocID="{0D630A69-A7D1-4FB7-9877-D70E25FEBBDF}" presName="negativeSpace" presStyleCnt="0"/>
      <dgm:spPr/>
    </dgm:pt>
    <dgm:pt modelId="{E632821A-F24F-4F70-AF82-494EF4BCA46D}" type="pres">
      <dgm:prSet presAssocID="{0D630A69-A7D1-4FB7-9877-D70E25FEBBDF}" presName="childText" presStyleLbl="conFgAcc1" presStyleIdx="1" presStyleCnt="6">
        <dgm:presLayoutVars>
          <dgm:bulletEnabled val="1"/>
        </dgm:presLayoutVars>
      </dgm:prSet>
      <dgm:spPr/>
    </dgm:pt>
    <dgm:pt modelId="{7B9E6290-C3AA-4333-8E6B-0578A8CFA486}" type="pres">
      <dgm:prSet presAssocID="{36D82B5F-A289-4557-916F-836644B9DFD8}" presName="spaceBetweenRectangles" presStyleCnt="0"/>
      <dgm:spPr/>
    </dgm:pt>
    <dgm:pt modelId="{E8BFCE16-5070-4449-80A0-FE91E239DAE8}" type="pres">
      <dgm:prSet presAssocID="{8D1640D8-E92B-42B6-A55B-17EBEDE6B12C}" presName="parentLin" presStyleCnt="0"/>
      <dgm:spPr/>
    </dgm:pt>
    <dgm:pt modelId="{7EA87D17-BC14-4954-B9AA-0D03BB7CCE07}" type="pres">
      <dgm:prSet presAssocID="{8D1640D8-E92B-42B6-A55B-17EBEDE6B12C}" presName="parentLeftMargin" presStyleLbl="node1" presStyleIdx="1" presStyleCnt="6"/>
      <dgm:spPr/>
      <dgm:t>
        <a:bodyPr/>
        <a:lstStyle/>
        <a:p>
          <a:endParaRPr lang="en-US"/>
        </a:p>
      </dgm:t>
    </dgm:pt>
    <dgm:pt modelId="{2479333B-8FDB-4758-AB74-D6B0A3BE3D29}" type="pres">
      <dgm:prSet presAssocID="{8D1640D8-E92B-42B6-A55B-17EBEDE6B12C}" presName="parentText" presStyleLbl="node1" presStyleIdx="2" presStyleCnt="6">
        <dgm:presLayoutVars>
          <dgm:chMax val="0"/>
          <dgm:bulletEnabled val="1"/>
        </dgm:presLayoutVars>
      </dgm:prSet>
      <dgm:spPr/>
      <dgm:t>
        <a:bodyPr/>
        <a:lstStyle/>
        <a:p>
          <a:endParaRPr lang="en-US"/>
        </a:p>
      </dgm:t>
    </dgm:pt>
    <dgm:pt modelId="{2550AF50-F72F-42B9-A622-6A50755F2035}" type="pres">
      <dgm:prSet presAssocID="{8D1640D8-E92B-42B6-A55B-17EBEDE6B12C}" presName="negativeSpace" presStyleCnt="0"/>
      <dgm:spPr/>
    </dgm:pt>
    <dgm:pt modelId="{44ACBB67-B6A7-472B-8A5A-83DE457D2E67}" type="pres">
      <dgm:prSet presAssocID="{8D1640D8-E92B-42B6-A55B-17EBEDE6B12C}" presName="childText" presStyleLbl="conFgAcc1" presStyleIdx="2" presStyleCnt="6">
        <dgm:presLayoutVars>
          <dgm:bulletEnabled val="1"/>
        </dgm:presLayoutVars>
      </dgm:prSet>
      <dgm:spPr/>
    </dgm:pt>
    <dgm:pt modelId="{C6970A1F-E68C-49CE-93CC-9CDA37DAC0A5}" type="pres">
      <dgm:prSet presAssocID="{172EF0A7-79ED-40FD-99E5-543633F398EB}" presName="spaceBetweenRectangles" presStyleCnt="0"/>
      <dgm:spPr/>
    </dgm:pt>
    <dgm:pt modelId="{04E31201-EF4F-42D0-A2FE-8916A471229E}" type="pres">
      <dgm:prSet presAssocID="{B0B2BD98-22B9-4C17-BB9D-594921C09322}" presName="parentLin" presStyleCnt="0"/>
      <dgm:spPr/>
    </dgm:pt>
    <dgm:pt modelId="{1A6E7486-2064-4A75-B5B6-7619573BE6A7}" type="pres">
      <dgm:prSet presAssocID="{B0B2BD98-22B9-4C17-BB9D-594921C09322}" presName="parentLeftMargin" presStyleLbl="node1" presStyleIdx="2" presStyleCnt="6"/>
      <dgm:spPr/>
      <dgm:t>
        <a:bodyPr/>
        <a:lstStyle/>
        <a:p>
          <a:endParaRPr lang="en-US"/>
        </a:p>
      </dgm:t>
    </dgm:pt>
    <dgm:pt modelId="{62C4C70B-055B-4E7F-AF94-5B1E913C9210}" type="pres">
      <dgm:prSet presAssocID="{B0B2BD98-22B9-4C17-BB9D-594921C09322}" presName="parentText" presStyleLbl="node1" presStyleIdx="3" presStyleCnt="6">
        <dgm:presLayoutVars>
          <dgm:chMax val="0"/>
          <dgm:bulletEnabled val="1"/>
        </dgm:presLayoutVars>
      </dgm:prSet>
      <dgm:spPr/>
      <dgm:t>
        <a:bodyPr/>
        <a:lstStyle/>
        <a:p>
          <a:endParaRPr lang="en-US"/>
        </a:p>
      </dgm:t>
    </dgm:pt>
    <dgm:pt modelId="{6EEDB0AF-1850-4F73-8A9C-85CA0353FE49}" type="pres">
      <dgm:prSet presAssocID="{B0B2BD98-22B9-4C17-BB9D-594921C09322}" presName="negativeSpace" presStyleCnt="0"/>
      <dgm:spPr/>
    </dgm:pt>
    <dgm:pt modelId="{165210B6-48A5-469E-96AA-912688BAC647}" type="pres">
      <dgm:prSet presAssocID="{B0B2BD98-22B9-4C17-BB9D-594921C09322}" presName="childText" presStyleLbl="conFgAcc1" presStyleIdx="3" presStyleCnt="6">
        <dgm:presLayoutVars>
          <dgm:bulletEnabled val="1"/>
        </dgm:presLayoutVars>
      </dgm:prSet>
      <dgm:spPr/>
    </dgm:pt>
    <dgm:pt modelId="{89C686F0-0397-45A0-A7BF-8FE9DE4108F6}" type="pres">
      <dgm:prSet presAssocID="{7428A367-2063-46BD-9F1D-2015ECAA9542}" presName="spaceBetweenRectangles" presStyleCnt="0"/>
      <dgm:spPr/>
    </dgm:pt>
    <dgm:pt modelId="{0CDC9BC8-8315-42A0-9A88-41F7D6AB7835}" type="pres">
      <dgm:prSet presAssocID="{6A2CE73B-AC83-4C7D-AF03-F91C56CB3932}" presName="parentLin" presStyleCnt="0"/>
      <dgm:spPr/>
    </dgm:pt>
    <dgm:pt modelId="{2DB01FBC-AC75-4BF5-8491-6FCF5682ECFC}" type="pres">
      <dgm:prSet presAssocID="{6A2CE73B-AC83-4C7D-AF03-F91C56CB3932}" presName="parentLeftMargin" presStyleLbl="node1" presStyleIdx="3" presStyleCnt="6"/>
      <dgm:spPr/>
      <dgm:t>
        <a:bodyPr/>
        <a:lstStyle/>
        <a:p>
          <a:endParaRPr lang="en-US"/>
        </a:p>
      </dgm:t>
    </dgm:pt>
    <dgm:pt modelId="{DD6AA04F-3E47-46BF-996D-41633F9C559A}" type="pres">
      <dgm:prSet presAssocID="{6A2CE73B-AC83-4C7D-AF03-F91C56CB3932}" presName="parentText" presStyleLbl="node1" presStyleIdx="4" presStyleCnt="6">
        <dgm:presLayoutVars>
          <dgm:chMax val="0"/>
          <dgm:bulletEnabled val="1"/>
        </dgm:presLayoutVars>
      </dgm:prSet>
      <dgm:spPr/>
      <dgm:t>
        <a:bodyPr/>
        <a:lstStyle/>
        <a:p>
          <a:endParaRPr lang="en-US"/>
        </a:p>
      </dgm:t>
    </dgm:pt>
    <dgm:pt modelId="{D35CBF95-93BA-4974-BF13-8A38AC4AC2E0}" type="pres">
      <dgm:prSet presAssocID="{6A2CE73B-AC83-4C7D-AF03-F91C56CB3932}" presName="negativeSpace" presStyleCnt="0"/>
      <dgm:spPr/>
    </dgm:pt>
    <dgm:pt modelId="{67C4DCAC-226C-4FC5-92DA-092B92B86A31}" type="pres">
      <dgm:prSet presAssocID="{6A2CE73B-AC83-4C7D-AF03-F91C56CB3932}" presName="childText" presStyleLbl="conFgAcc1" presStyleIdx="4" presStyleCnt="6">
        <dgm:presLayoutVars>
          <dgm:bulletEnabled val="1"/>
        </dgm:presLayoutVars>
      </dgm:prSet>
      <dgm:spPr/>
    </dgm:pt>
    <dgm:pt modelId="{CEF22113-6894-410D-B2A5-9814DDFD9FD1}" type="pres">
      <dgm:prSet presAssocID="{4F902847-09FA-44A4-9372-9AC40A15AF42}" presName="spaceBetweenRectangles" presStyleCnt="0"/>
      <dgm:spPr/>
    </dgm:pt>
    <dgm:pt modelId="{93D4F02A-42F6-47D5-84D1-E34937829D4F}" type="pres">
      <dgm:prSet presAssocID="{1379F31A-6DF7-4019-B02D-5F7762CD36E5}" presName="parentLin" presStyleCnt="0"/>
      <dgm:spPr/>
    </dgm:pt>
    <dgm:pt modelId="{B7EAFE68-89CE-43CD-A32B-B7E63EF32EAF}" type="pres">
      <dgm:prSet presAssocID="{1379F31A-6DF7-4019-B02D-5F7762CD36E5}" presName="parentLeftMargin" presStyleLbl="node1" presStyleIdx="4" presStyleCnt="6"/>
      <dgm:spPr/>
      <dgm:t>
        <a:bodyPr/>
        <a:lstStyle/>
        <a:p>
          <a:endParaRPr lang="en-US"/>
        </a:p>
      </dgm:t>
    </dgm:pt>
    <dgm:pt modelId="{B197C902-4E30-4908-A0B7-97DA51DEC723}" type="pres">
      <dgm:prSet presAssocID="{1379F31A-6DF7-4019-B02D-5F7762CD36E5}" presName="parentText" presStyleLbl="node1" presStyleIdx="5" presStyleCnt="6">
        <dgm:presLayoutVars>
          <dgm:chMax val="0"/>
          <dgm:bulletEnabled val="1"/>
        </dgm:presLayoutVars>
      </dgm:prSet>
      <dgm:spPr/>
      <dgm:t>
        <a:bodyPr/>
        <a:lstStyle/>
        <a:p>
          <a:endParaRPr lang="en-US"/>
        </a:p>
      </dgm:t>
    </dgm:pt>
    <dgm:pt modelId="{15F8E407-6730-4823-941F-D9A0E0A438A3}" type="pres">
      <dgm:prSet presAssocID="{1379F31A-6DF7-4019-B02D-5F7762CD36E5}" presName="negativeSpace" presStyleCnt="0"/>
      <dgm:spPr/>
    </dgm:pt>
    <dgm:pt modelId="{0D72A6A2-85C0-463B-BA29-E802C7563B44}" type="pres">
      <dgm:prSet presAssocID="{1379F31A-6DF7-4019-B02D-5F7762CD36E5}" presName="childText" presStyleLbl="conFgAcc1" presStyleIdx="5" presStyleCnt="6">
        <dgm:presLayoutVars>
          <dgm:bulletEnabled val="1"/>
        </dgm:presLayoutVars>
      </dgm:prSet>
      <dgm:spPr/>
    </dgm:pt>
  </dgm:ptLst>
  <dgm:cxnLst>
    <dgm:cxn modelId="{EC89815C-1061-416E-A341-91D0F441E1AC}" type="presOf" srcId="{6A2CE73B-AC83-4C7D-AF03-F91C56CB3932}" destId="{2DB01FBC-AC75-4BF5-8491-6FCF5682ECFC}" srcOrd="0" destOrd="0" presId="urn:microsoft.com/office/officeart/2005/8/layout/list1"/>
    <dgm:cxn modelId="{285E4E9F-2D84-4623-9D31-D6256A587AB0}" type="presOf" srcId="{6A2CE73B-AC83-4C7D-AF03-F91C56CB3932}" destId="{DD6AA04F-3E47-46BF-996D-41633F9C559A}" srcOrd="1" destOrd="0" presId="urn:microsoft.com/office/officeart/2005/8/layout/list1"/>
    <dgm:cxn modelId="{26009612-249D-45D0-A142-1528573C0295}" srcId="{C3BC044D-91F2-4A30-B068-A9863D1A704B}" destId="{B0B2BD98-22B9-4C17-BB9D-594921C09322}" srcOrd="3" destOrd="0" parTransId="{D20E2EFF-BC83-4798-9211-68DEB2D34BCE}" sibTransId="{7428A367-2063-46BD-9F1D-2015ECAA9542}"/>
    <dgm:cxn modelId="{5005A5C1-D017-403D-ABBC-0B11A84E4EDB}" type="presOf" srcId="{C3BC044D-91F2-4A30-B068-A9863D1A704B}" destId="{0AE45C58-62CC-4EBE-822D-9984E1AB6C8F}" srcOrd="0" destOrd="0" presId="urn:microsoft.com/office/officeart/2005/8/layout/list1"/>
    <dgm:cxn modelId="{9016F677-2E4E-45D9-BA17-A61079007350}" type="presOf" srcId="{1379F31A-6DF7-4019-B02D-5F7762CD36E5}" destId="{B197C902-4E30-4908-A0B7-97DA51DEC723}" srcOrd="1" destOrd="0" presId="urn:microsoft.com/office/officeart/2005/8/layout/list1"/>
    <dgm:cxn modelId="{35E396B3-9333-4970-BE08-FC581BB21D5E}" srcId="{C3BC044D-91F2-4A30-B068-A9863D1A704B}" destId="{F1F3B559-2EAF-4365-B347-4B161320BFAE}" srcOrd="0" destOrd="0" parTransId="{2EA37228-CDC9-4D47-BFD0-735E4885900E}" sibTransId="{3DC303BE-7F28-43E4-9BF3-43AA677E20EB}"/>
    <dgm:cxn modelId="{B43BF0AB-027C-4FF7-8CDF-A2E8B9D9FB54}" type="presOf" srcId="{B0B2BD98-22B9-4C17-BB9D-594921C09322}" destId="{62C4C70B-055B-4E7F-AF94-5B1E913C9210}" srcOrd="1" destOrd="0" presId="urn:microsoft.com/office/officeart/2005/8/layout/list1"/>
    <dgm:cxn modelId="{378F6A62-5E9A-41FE-8953-4937DB7776EF}" type="presOf" srcId="{8D1640D8-E92B-42B6-A55B-17EBEDE6B12C}" destId="{7EA87D17-BC14-4954-B9AA-0D03BB7CCE07}" srcOrd="0" destOrd="0" presId="urn:microsoft.com/office/officeart/2005/8/layout/list1"/>
    <dgm:cxn modelId="{50C977BD-B6F1-450C-BB0C-D8C19CB45A3C}" srcId="{C3BC044D-91F2-4A30-B068-A9863D1A704B}" destId="{6A2CE73B-AC83-4C7D-AF03-F91C56CB3932}" srcOrd="4" destOrd="0" parTransId="{41DCADC0-D547-4623-909C-E5E8C7695E53}" sibTransId="{4F902847-09FA-44A4-9372-9AC40A15AF42}"/>
    <dgm:cxn modelId="{E58C0FFB-47C4-4876-BC7F-A9AFC6869515}" type="presOf" srcId="{F1F3B559-2EAF-4365-B347-4B161320BFAE}" destId="{1B35379C-00D4-422F-A20A-BFE8B788C596}" srcOrd="1" destOrd="0" presId="urn:microsoft.com/office/officeart/2005/8/layout/list1"/>
    <dgm:cxn modelId="{F8D14402-5FA3-4940-8559-FA92CCB9423F}" type="presOf" srcId="{8D1640D8-E92B-42B6-A55B-17EBEDE6B12C}" destId="{2479333B-8FDB-4758-AB74-D6B0A3BE3D29}" srcOrd="1" destOrd="0" presId="urn:microsoft.com/office/officeart/2005/8/layout/list1"/>
    <dgm:cxn modelId="{7FC9B1E5-C2CB-4B3F-B430-942F59C69155}" type="presOf" srcId="{0D630A69-A7D1-4FB7-9877-D70E25FEBBDF}" destId="{84AA7246-90C1-4DF2-AB07-7CCB31C3B611}" srcOrd="1" destOrd="0" presId="urn:microsoft.com/office/officeart/2005/8/layout/list1"/>
    <dgm:cxn modelId="{B37E7130-0C4D-490F-B417-2E0DF961739A}" type="presOf" srcId="{0D630A69-A7D1-4FB7-9877-D70E25FEBBDF}" destId="{4C6C6A67-30FB-47E8-8BCD-9B6B870DD6D7}" srcOrd="0" destOrd="0" presId="urn:microsoft.com/office/officeart/2005/8/layout/list1"/>
    <dgm:cxn modelId="{81FDF485-8800-4D14-B37C-23AF8050FD7A}" srcId="{C3BC044D-91F2-4A30-B068-A9863D1A704B}" destId="{1379F31A-6DF7-4019-B02D-5F7762CD36E5}" srcOrd="5" destOrd="0" parTransId="{6D0D5E86-65E7-43EE-96A8-90EDC6B4E7E9}" sibTransId="{984AA16B-4623-4245-80A0-DC3E677FD7C8}"/>
    <dgm:cxn modelId="{58CBA828-2A47-41BD-9FFE-050FEDE009BB}" type="presOf" srcId="{F1F3B559-2EAF-4365-B347-4B161320BFAE}" destId="{2DB95F5B-0A18-453D-81A7-F5B422D499DE}" srcOrd="0" destOrd="0" presId="urn:microsoft.com/office/officeart/2005/8/layout/list1"/>
    <dgm:cxn modelId="{AB19EDF9-3DB6-48A5-B52F-66A99F302A4F}" srcId="{C3BC044D-91F2-4A30-B068-A9863D1A704B}" destId="{0D630A69-A7D1-4FB7-9877-D70E25FEBBDF}" srcOrd="1" destOrd="0" parTransId="{9FFBCB03-3CA9-4DCD-8839-D3029DF2E8D3}" sibTransId="{36D82B5F-A289-4557-916F-836644B9DFD8}"/>
    <dgm:cxn modelId="{A8B884C9-5A22-4783-B101-F85B1A43EDFD}" type="presOf" srcId="{B0B2BD98-22B9-4C17-BB9D-594921C09322}" destId="{1A6E7486-2064-4A75-B5B6-7619573BE6A7}" srcOrd="0" destOrd="0" presId="urn:microsoft.com/office/officeart/2005/8/layout/list1"/>
    <dgm:cxn modelId="{56643179-C3EF-4DA8-A0D7-C2D8B128F6E2}" type="presOf" srcId="{1379F31A-6DF7-4019-B02D-5F7762CD36E5}" destId="{B7EAFE68-89CE-43CD-A32B-B7E63EF32EAF}" srcOrd="0" destOrd="0" presId="urn:microsoft.com/office/officeart/2005/8/layout/list1"/>
    <dgm:cxn modelId="{814F736B-8E11-401A-8D6C-CF134CC74F47}" srcId="{C3BC044D-91F2-4A30-B068-A9863D1A704B}" destId="{8D1640D8-E92B-42B6-A55B-17EBEDE6B12C}" srcOrd="2" destOrd="0" parTransId="{767E34AA-D24F-498C-B59E-6233CE353BE5}" sibTransId="{172EF0A7-79ED-40FD-99E5-543633F398EB}"/>
    <dgm:cxn modelId="{B646A4F1-EB8D-447C-9915-113B76F3A4E9}" type="presParOf" srcId="{0AE45C58-62CC-4EBE-822D-9984E1AB6C8F}" destId="{E1962F02-1B3F-4CEA-A31F-CD624BC79259}" srcOrd="0" destOrd="0" presId="urn:microsoft.com/office/officeart/2005/8/layout/list1"/>
    <dgm:cxn modelId="{1D9A4178-C567-4000-8FE5-5E3E0C62A493}" type="presParOf" srcId="{E1962F02-1B3F-4CEA-A31F-CD624BC79259}" destId="{2DB95F5B-0A18-453D-81A7-F5B422D499DE}" srcOrd="0" destOrd="0" presId="urn:microsoft.com/office/officeart/2005/8/layout/list1"/>
    <dgm:cxn modelId="{7CBCFF5B-A17D-4367-B6B7-2139808F25CD}" type="presParOf" srcId="{E1962F02-1B3F-4CEA-A31F-CD624BC79259}" destId="{1B35379C-00D4-422F-A20A-BFE8B788C596}" srcOrd="1" destOrd="0" presId="urn:microsoft.com/office/officeart/2005/8/layout/list1"/>
    <dgm:cxn modelId="{077FF2D9-6E48-4AAE-B2D8-3E681D751645}" type="presParOf" srcId="{0AE45C58-62CC-4EBE-822D-9984E1AB6C8F}" destId="{5592D7C6-2160-4E55-9387-C46DA895F427}" srcOrd="1" destOrd="0" presId="urn:microsoft.com/office/officeart/2005/8/layout/list1"/>
    <dgm:cxn modelId="{14FFD711-242B-44DC-A0B9-214877DC3ECE}" type="presParOf" srcId="{0AE45C58-62CC-4EBE-822D-9984E1AB6C8F}" destId="{40CF94C0-3C24-4EBC-9B86-1223E849A8EF}" srcOrd="2" destOrd="0" presId="urn:microsoft.com/office/officeart/2005/8/layout/list1"/>
    <dgm:cxn modelId="{0FC367DF-929A-40D0-9E6F-2219DC65B040}" type="presParOf" srcId="{0AE45C58-62CC-4EBE-822D-9984E1AB6C8F}" destId="{37AB7EC7-CD67-424B-8724-9E8B079A7BFF}" srcOrd="3" destOrd="0" presId="urn:microsoft.com/office/officeart/2005/8/layout/list1"/>
    <dgm:cxn modelId="{4E353196-491E-4606-B297-16BC7BC88C94}" type="presParOf" srcId="{0AE45C58-62CC-4EBE-822D-9984E1AB6C8F}" destId="{09B19D3D-649D-468B-8DEC-4A60F18B1DFA}" srcOrd="4" destOrd="0" presId="urn:microsoft.com/office/officeart/2005/8/layout/list1"/>
    <dgm:cxn modelId="{FC5DAC08-4467-4CE7-AC1E-57DFDCA9D275}" type="presParOf" srcId="{09B19D3D-649D-468B-8DEC-4A60F18B1DFA}" destId="{4C6C6A67-30FB-47E8-8BCD-9B6B870DD6D7}" srcOrd="0" destOrd="0" presId="urn:microsoft.com/office/officeart/2005/8/layout/list1"/>
    <dgm:cxn modelId="{BFA96653-F015-42DA-8894-A5C5B6C50541}" type="presParOf" srcId="{09B19D3D-649D-468B-8DEC-4A60F18B1DFA}" destId="{84AA7246-90C1-4DF2-AB07-7CCB31C3B611}" srcOrd="1" destOrd="0" presId="urn:microsoft.com/office/officeart/2005/8/layout/list1"/>
    <dgm:cxn modelId="{7C5CFE82-EEA1-4B18-A34C-424A63560B0B}" type="presParOf" srcId="{0AE45C58-62CC-4EBE-822D-9984E1AB6C8F}" destId="{4ADE5188-AE9A-46BC-9FEA-512ED700F2CA}" srcOrd="5" destOrd="0" presId="urn:microsoft.com/office/officeart/2005/8/layout/list1"/>
    <dgm:cxn modelId="{9C060177-342D-4ABC-BA7E-54B3A41C15CC}" type="presParOf" srcId="{0AE45C58-62CC-4EBE-822D-9984E1AB6C8F}" destId="{E632821A-F24F-4F70-AF82-494EF4BCA46D}" srcOrd="6" destOrd="0" presId="urn:microsoft.com/office/officeart/2005/8/layout/list1"/>
    <dgm:cxn modelId="{8098895E-F9A3-4C9B-B070-2D028A9F87A9}" type="presParOf" srcId="{0AE45C58-62CC-4EBE-822D-9984E1AB6C8F}" destId="{7B9E6290-C3AA-4333-8E6B-0578A8CFA486}" srcOrd="7" destOrd="0" presId="urn:microsoft.com/office/officeart/2005/8/layout/list1"/>
    <dgm:cxn modelId="{5DEA9314-FE42-41C2-AF5E-CE4FADEA17D0}" type="presParOf" srcId="{0AE45C58-62CC-4EBE-822D-9984E1AB6C8F}" destId="{E8BFCE16-5070-4449-80A0-FE91E239DAE8}" srcOrd="8" destOrd="0" presId="urn:microsoft.com/office/officeart/2005/8/layout/list1"/>
    <dgm:cxn modelId="{E0950AE9-87D2-4AEC-859F-8CDA9598E7CB}" type="presParOf" srcId="{E8BFCE16-5070-4449-80A0-FE91E239DAE8}" destId="{7EA87D17-BC14-4954-B9AA-0D03BB7CCE07}" srcOrd="0" destOrd="0" presId="urn:microsoft.com/office/officeart/2005/8/layout/list1"/>
    <dgm:cxn modelId="{C816E1A2-0311-4EDD-9D08-4859FD996634}" type="presParOf" srcId="{E8BFCE16-5070-4449-80A0-FE91E239DAE8}" destId="{2479333B-8FDB-4758-AB74-D6B0A3BE3D29}" srcOrd="1" destOrd="0" presId="urn:microsoft.com/office/officeart/2005/8/layout/list1"/>
    <dgm:cxn modelId="{6C061E5F-A38F-4A82-88D9-A705B9140470}" type="presParOf" srcId="{0AE45C58-62CC-4EBE-822D-9984E1AB6C8F}" destId="{2550AF50-F72F-42B9-A622-6A50755F2035}" srcOrd="9" destOrd="0" presId="urn:microsoft.com/office/officeart/2005/8/layout/list1"/>
    <dgm:cxn modelId="{E8FCB319-34A9-4E19-91E3-D3B1792C4442}" type="presParOf" srcId="{0AE45C58-62CC-4EBE-822D-9984E1AB6C8F}" destId="{44ACBB67-B6A7-472B-8A5A-83DE457D2E67}" srcOrd="10" destOrd="0" presId="urn:microsoft.com/office/officeart/2005/8/layout/list1"/>
    <dgm:cxn modelId="{0A923A76-6E12-46BF-80FA-BA8AB93ABEC4}" type="presParOf" srcId="{0AE45C58-62CC-4EBE-822D-9984E1AB6C8F}" destId="{C6970A1F-E68C-49CE-93CC-9CDA37DAC0A5}" srcOrd="11" destOrd="0" presId="urn:microsoft.com/office/officeart/2005/8/layout/list1"/>
    <dgm:cxn modelId="{BB361DF7-8A1D-4310-8E80-505077723EE0}" type="presParOf" srcId="{0AE45C58-62CC-4EBE-822D-9984E1AB6C8F}" destId="{04E31201-EF4F-42D0-A2FE-8916A471229E}" srcOrd="12" destOrd="0" presId="urn:microsoft.com/office/officeart/2005/8/layout/list1"/>
    <dgm:cxn modelId="{403C01E8-6FB5-41E4-A761-DB8B55442580}" type="presParOf" srcId="{04E31201-EF4F-42D0-A2FE-8916A471229E}" destId="{1A6E7486-2064-4A75-B5B6-7619573BE6A7}" srcOrd="0" destOrd="0" presId="urn:microsoft.com/office/officeart/2005/8/layout/list1"/>
    <dgm:cxn modelId="{B941D115-6C84-49ED-B3E1-A520BD3D5B62}" type="presParOf" srcId="{04E31201-EF4F-42D0-A2FE-8916A471229E}" destId="{62C4C70B-055B-4E7F-AF94-5B1E913C9210}" srcOrd="1" destOrd="0" presId="urn:microsoft.com/office/officeart/2005/8/layout/list1"/>
    <dgm:cxn modelId="{36AF9532-653D-4D2F-93A1-182E60E6E9E8}" type="presParOf" srcId="{0AE45C58-62CC-4EBE-822D-9984E1AB6C8F}" destId="{6EEDB0AF-1850-4F73-8A9C-85CA0353FE49}" srcOrd="13" destOrd="0" presId="urn:microsoft.com/office/officeart/2005/8/layout/list1"/>
    <dgm:cxn modelId="{0C9391F3-0F08-421F-95EA-28ED4EE3A0A9}" type="presParOf" srcId="{0AE45C58-62CC-4EBE-822D-9984E1AB6C8F}" destId="{165210B6-48A5-469E-96AA-912688BAC647}" srcOrd="14" destOrd="0" presId="urn:microsoft.com/office/officeart/2005/8/layout/list1"/>
    <dgm:cxn modelId="{F152DC6B-F1D5-4455-AFD8-DFC34F3BA708}" type="presParOf" srcId="{0AE45C58-62CC-4EBE-822D-9984E1AB6C8F}" destId="{89C686F0-0397-45A0-A7BF-8FE9DE4108F6}" srcOrd="15" destOrd="0" presId="urn:microsoft.com/office/officeart/2005/8/layout/list1"/>
    <dgm:cxn modelId="{5CAAF518-294D-446F-B151-13C003FFA98D}" type="presParOf" srcId="{0AE45C58-62CC-4EBE-822D-9984E1AB6C8F}" destId="{0CDC9BC8-8315-42A0-9A88-41F7D6AB7835}" srcOrd="16" destOrd="0" presId="urn:microsoft.com/office/officeart/2005/8/layout/list1"/>
    <dgm:cxn modelId="{18AA428E-9D6A-4D42-A3CD-D486BB373286}" type="presParOf" srcId="{0CDC9BC8-8315-42A0-9A88-41F7D6AB7835}" destId="{2DB01FBC-AC75-4BF5-8491-6FCF5682ECFC}" srcOrd="0" destOrd="0" presId="urn:microsoft.com/office/officeart/2005/8/layout/list1"/>
    <dgm:cxn modelId="{F917E0B5-BBA2-4C87-B6AE-F16C2BBAC225}" type="presParOf" srcId="{0CDC9BC8-8315-42A0-9A88-41F7D6AB7835}" destId="{DD6AA04F-3E47-46BF-996D-41633F9C559A}" srcOrd="1" destOrd="0" presId="urn:microsoft.com/office/officeart/2005/8/layout/list1"/>
    <dgm:cxn modelId="{1C335921-818E-4E51-84E0-BA73FD8FB1D3}" type="presParOf" srcId="{0AE45C58-62CC-4EBE-822D-9984E1AB6C8F}" destId="{D35CBF95-93BA-4974-BF13-8A38AC4AC2E0}" srcOrd="17" destOrd="0" presId="urn:microsoft.com/office/officeart/2005/8/layout/list1"/>
    <dgm:cxn modelId="{D6725621-79E4-4671-92E6-85B6E5E25192}" type="presParOf" srcId="{0AE45C58-62CC-4EBE-822D-9984E1AB6C8F}" destId="{67C4DCAC-226C-4FC5-92DA-092B92B86A31}" srcOrd="18" destOrd="0" presId="urn:microsoft.com/office/officeart/2005/8/layout/list1"/>
    <dgm:cxn modelId="{D733BCC5-D283-4373-9CB8-EA7476673383}" type="presParOf" srcId="{0AE45C58-62CC-4EBE-822D-9984E1AB6C8F}" destId="{CEF22113-6894-410D-B2A5-9814DDFD9FD1}" srcOrd="19" destOrd="0" presId="urn:microsoft.com/office/officeart/2005/8/layout/list1"/>
    <dgm:cxn modelId="{3F3D508B-8517-4A05-858B-EC1DC2F35166}" type="presParOf" srcId="{0AE45C58-62CC-4EBE-822D-9984E1AB6C8F}" destId="{93D4F02A-42F6-47D5-84D1-E34937829D4F}" srcOrd="20" destOrd="0" presId="urn:microsoft.com/office/officeart/2005/8/layout/list1"/>
    <dgm:cxn modelId="{6A2F207E-F79C-4142-AF4F-6AA4E471138E}" type="presParOf" srcId="{93D4F02A-42F6-47D5-84D1-E34937829D4F}" destId="{B7EAFE68-89CE-43CD-A32B-B7E63EF32EAF}" srcOrd="0" destOrd="0" presId="urn:microsoft.com/office/officeart/2005/8/layout/list1"/>
    <dgm:cxn modelId="{92791D2F-11AD-4C23-A8F0-C38290030D1E}" type="presParOf" srcId="{93D4F02A-42F6-47D5-84D1-E34937829D4F}" destId="{B197C902-4E30-4908-A0B7-97DA51DEC723}" srcOrd="1" destOrd="0" presId="urn:microsoft.com/office/officeart/2005/8/layout/list1"/>
    <dgm:cxn modelId="{0EC7D4CD-76B3-49E3-BD7E-F583CAF9C62B}" type="presParOf" srcId="{0AE45C58-62CC-4EBE-822D-9984E1AB6C8F}" destId="{15F8E407-6730-4823-941F-D9A0E0A438A3}" srcOrd="21" destOrd="0" presId="urn:microsoft.com/office/officeart/2005/8/layout/list1"/>
    <dgm:cxn modelId="{17B17FF6-456F-4235-8F54-CA32F7C96911}" type="presParOf" srcId="{0AE45C58-62CC-4EBE-822D-9984E1AB6C8F}" destId="{0D72A6A2-85C0-463B-BA29-E802C7563B44}"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64243F6-5D33-472F-AE9E-43B98AD6371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2E284C1-62CF-4A4A-A5CC-9ED123AA7F22}">
      <dgm:prSet phldrT="[Text]"/>
      <dgm:spPr/>
      <dgm:t>
        <a:bodyPr/>
        <a:lstStyle/>
        <a:p>
          <a:r>
            <a:rPr lang="en-US" dirty="0" smtClean="0"/>
            <a:t>Stalking</a:t>
          </a:r>
          <a:endParaRPr lang="en-US" dirty="0"/>
        </a:p>
      </dgm:t>
    </dgm:pt>
    <dgm:pt modelId="{4C28E43E-76E3-474E-8F6F-C0F894C06553}" type="parTrans" cxnId="{60C695C8-FDB8-45B8-A027-ADD0B8E0D9E5}">
      <dgm:prSet/>
      <dgm:spPr/>
      <dgm:t>
        <a:bodyPr/>
        <a:lstStyle/>
        <a:p>
          <a:endParaRPr lang="en-US"/>
        </a:p>
      </dgm:t>
    </dgm:pt>
    <dgm:pt modelId="{0A62C3A0-A00F-4E94-B0F4-79EFB06CAA6C}" type="sibTrans" cxnId="{60C695C8-FDB8-45B8-A027-ADD0B8E0D9E5}">
      <dgm:prSet/>
      <dgm:spPr/>
      <dgm:t>
        <a:bodyPr/>
        <a:lstStyle/>
        <a:p>
          <a:endParaRPr lang="en-US"/>
        </a:p>
      </dgm:t>
    </dgm:pt>
    <dgm:pt modelId="{0023F5E4-956A-4A95-BD49-20CB1A4CF972}">
      <dgm:prSet phldrT="[Text]"/>
      <dgm:spPr/>
      <dgm:t>
        <a:bodyPr/>
        <a:lstStyle/>
        <a:p>
          <a:r>
            <a:rPr lang="en-US" dirty="0" smtClean="0"/>
            <a:t>Bullying</a:t>
          </a:r>
          <a:endParaRPr lang="en-US" dirty="0"/>
        </a:p>
      </dgm:t>
    </dgm:pt>
    <dgm:pt modelId="{B9DAEF1C-498B-47C7-8F3F-DF028169E68B}" type="parTrans" cxnId="{80FF8DE1-8C00-438F-8DFF-FF2016F4D33C}">
      <dgm:prSet/>
      <dgm:spPr/>
      <dgm:t>
        <a:bodyPr/>
        <a:lstStyle/>
        <a:p>
          <a:endParaRPr lang="en-US"/>
        </a:p>
      </dgm:t>
    </dgm:pt>
    <dgm:pt modelId="{0E3E694F-72E3-4645-907D-68F6D755F13D}" type="sibTrans" cxnId="{80FF8DE1-8C00-438F-8DFF-FF2016F4D33C}">
      <dgm:prSet/>
      <dgm:spPr/>
      <dgm:t>
        <a:bodyPr/>
        <a:lstStyle/>
        <a:p>
          <a:endParaRPr lang="en-US"/>
        </a:p>
      </dgm:t>
    </dgm:pt>
    <dgm:pt modelId="{0683E9EB-7F17-4931-9B04-9F586FA593F4}">
      <dgm:prSet phldrT="[Text]"/>
      <dgm:spPr/>
      <dgm:t>
        <a:bodyPr/>
        <a:lstStyle/>
        <a:p>
          <a:r>
            <a:rPr lang="en-US" dirty="0" smtClean="0"/>
            <a:t>Hacking &amp; Phishing</a:t>
          </a:r>
          <a:endParaRPr lang="en-US" dirty="0"/>
        </a:p>
      </dgm:t>
    </dgm:pt>
    <dgm:pt modelId="{19D3880F-4D5F-4AF8-9E6D-858445304E36}" type="parTrans" cxnId="{E7003F42-317E-423B-82FF-484518A3A250}">
      <dgm:prSet/>
      <dgm:spPr/>
      <dgm:t>
        <a:bodyPr/>
        <a:lstStyle/>
        <a:p>
          <a:endParaRPr lang="en-US"/>
        </a:p>
      </dgm:t>
    </dgm:pt>
    <dgm:pt modelId="{C3B34DFF-BCAF-45D0-81B3-0A8EACEB6370}" type="sibTrans" cxnId="{E7003F42-317E-423B-82FF-484518A3A250}">
      <dgm:prSet/>
      <dgm:spPr/>
      <dgm:t>
        <a:bodyPr/>
        <a:lstStyle/>
        <a:p>
          <a:endParaRPr lang="en-US"/>
        </a:p>
      </dgm:t>
    </dgm:pt>
    <dgm:pt modelId="{EF9763E8-304E-4523-8586-4BDFE8211CF5}">
      <dgm:prSet phldrT="[Text]"/>
      <dgm:spPr/>
      <dgm:t>
        <a:bodyPr/>
        <a:lstStyle/>
        <a:p>
          <a:r>
            <a:rPr lang="en-US" dirty="0" smtClean="0"/>
            <a:t>Identity Theft</a:t>
          </a:r>
          <a:endParaRPr lang="en-US" dirty="0"/>
        </a:p>
      </dgm:t>
    </dgm:pt>
    <dgm:pt modelId="{C45AA741-6AD8-4CC5-810F-25DA8F602EF2}" type="parTrans" cxnId="{083D6171-B65B-4783-A9CE-8BF100B13BDD}">
      <dgm:prSet/>
      <dgm:spPr/>
      <dgm:t>
        <a:bodyPr/>
        <a:lstStyle/>
        <a:p>
          <a:endParaRPr lang="en-US"/>
        </a:p>
      </dgm:t>
    </dgm:pt>
    <dgm:pt modelId="{63213F93-8916-46EA-9A74-E443EC08DCDB}" type="sibTrans" cxnId="{083D6171-B65B-4783-A9CE-8BF100B13BDD}">
      <dgm:prSet/>
      <dgm:spPr/>
      <dgm:t>
        <a:bodyPr/>
        <a:lstStyle/>
        <a:p>
          <a:endParaRPr lang="en-US"/>
        </a:p>
      </dgm:t>
    </dgm:pt>
    <dgm:pt modelId="{FCC0458B-08C6-466F-9693-BF890E3CCB20}">
      <dgm:prSet phldrT="[Text]"/>
      <dgm:spPr/>
      <dgm:t>
        <a:bodyPr/>
        <a:lstStyle/>
        <a:p>
          <a:r>
            <a:rPr lang="en-US" dirty="0" smtClean="0"/>
            <a:t>Impersonation</a:t>
          </a:r>
          <a:endParaRPr lang="en-US" dirty="0"/>
        </a:p>
      </dgm:t>
    </dgm:pt>
    <dgm:pt modelId="{587B19EA-0C4A-4F39-90D7-A02B4A18F2F7}" type="parTrans" cxnId="{482FDB0E-F512-4A50-A6EB-9E65181AFA29}">
      <dgm:prSet/>
      <dgm:spPr/>
      <dgm:t>
        <a:bodyPr/>
        <a:lstStyle/>
        <a:p>
          <a:endParaRPr lang="en-US"/>
        </a:p>
      </dgm:t>
    </dgm:pt>
    <dgm:pt modelId="{5042E9A5-6C7A-481D-9D4A-64962A4C5E73}" type="sibTrans" cxnId="{482FDB0E-F512-4A50-A6EB-9E65181AFA29}">
      <dgm:prSet/>
      <dgm:spPr/>
      <dgm:t>
        <a:bodyPr/>
        <a:lstStyle/>
        <a:p>
          <a:endParaRPr lang="en-US"/>
        </a:p>
      </dgm:t>
    </dgm:pt>
    <dgm:pt modelId="{A95A2CD2-A1A5-412C-BC6F-9214C732E04D}">
      <dgm:prSet/>
      <dgm:spPr/>
      <dgm:t>
        <a:bodyPr/>
        <a:lstStyle/>
        <a:p>
          <a:r>
            <a:rPr lang="en-US" dirty="0" smtClean="0"/>
            <a:t>Negative Use of Online Persona </a:t>
          </a:r>
          <a:endParaRPr lang="en-US" dirty="0"/>
        </a:p>
      </dgm:t>
    </dgm:pt>
    <dgm:pt modelId="{46F574CA-8E35-4389-9B22-FB5804A95B9A}" type="parTrans" cxnId="{F08F91A1-43CE-4753-A949-E6DBF1F79663}">
      <dgm:prSet/>
      <dgm:spPr/>
      <dgm:t>
        <a:bodyPr/>
        <a:lstStyle/>
        <a:p>
          <a:endParaRPr lang="en-US"/>
        </a:p>
      </dgm:t>
    </dgm:pt>
    <dgm:pt modelId="{ECB4DB6C-F45D-499D-B622-6EB199D01975}" type="sibTrans" cxnId="{F08F91A1-43CE-4753-A949-E6DBF1F79663}">
      <dgm:prSet/>
      <dgm:spPr/>
      <dgm:t>
        <a:bodyPr/>
        <a:lstStyle/>
        <a:p>
          <a:endParaRPr lang="en-US"/>
        </a:p>
      </dgm:t>
    </dgm:pt>
    <dgm:pt modelId="{F4856AFD-BECD-44B4-8938-CFE202805B54}" type="pres">
      <dgm:prSet presAssocID="{464243F6-5D33-472F-AE9E-43B98AD63713}" presName="diagram" presStyleCnt="0">
        <dgm:presLayoutVars>
          <dgm:dir/>
          <dgm:resizeHandles val="exact"/>
        </dgm:presLayoutVars>
      </dgm:prSet>
      <dgm:spPr/>
      <dgm:t>
        <a:bodyPr/>
        <a:lstStyle/>
        <a:p>
          <a:endParaRPr lang="en-US"/>
        </a:p>
      </dgm:t>
    </dgm:pt>
    <dgm:pt modelId="{1B9EFF83-C6CA-4E4B-A748-FE1267D87410}" type="pres">
      <dgm:prSet presAssocID="{22E284C1-62CF-4A4A-A5CC-9ED123AA7F22}" presName="node" presStyleLbl="node1" presStyleIdx="0" presStyleCnt="6">
        <dgm:presLayoutVars>
          <dgm:bulletEnabled val="1"/>
        </dgm:presLayoutVars>
      </dgm:prSet>
      <dgm:spPr/>
      <dgm:t>
        <a:bodyPr/>
        <a:lstStyle/>
        <a:p>
          <a:endParaRPr lang="en-US"/>
        </a:p>
      </dgm:t>
    </dgm:pt>
    <dgm:pt modelId="{8BB50B7A-43EF-40F1-BC4E-47DA1FB571A9}" type="pres">
      <dgm:prSet presAssocID="{0A62C3A0-A00F-4E94-B0F4-79EFB06CAA6C}" presName="sibTrans" presStyleCnt="0"/>
      <dgm:spPr/>
    </dgm:pt>
    <dgm:pt modelId="{457D4836-90FF-45AB-97AD-D868D4C6DCB9}" type="pres">
      <dgm:prSet presAssocID="{0023F5E4-956A-4A95-BD49-20CB1A4CF972}" presName="node" presStyleLbl="node1" presStyleIdx="1" presStyleCnt="6">
        <dgm:presLayoutVars>
          <dgm:bulletEnabled val="1"/>
        </dgm:presLayoutVars>
      </dgm:prSet>
      <dgm:spPr/>
      <dgm:t>
        <a:bodyPr/>
        <a:lstStyle/>
        <a:p>
          <a:endParaRPr lang="en-US"/>
        </a:p>
      </dgm:t>
    </dgm:pt>
    <dgm:pt modelId="{8A40A13F-6C1A-4F02-9198-C1A627FAC518}" type="pres">
      <dgm:prSet presAssocID="{0E3E694F-72E3-4645-907D-68F6D755F13D}" presName="sibTrans" presStyleCnt="0"/>
      <dgm:spPr/>
    </dgm:pt>
    <dgm:pt modelId="{1FD61A59-B7A9-48AA-930A-49B11996C712}" type="pres">
      <dgm:prSet presAssocID="{0683E9EB-7F17-4931-9B04-9F586FA593F4}" presName="node" presStyleLbl="node1" presStyleIdx="2" presStyleCnt="6">
        <dgm:presLayoutVars>
          <dgm:bulletEnabled val="1"/>
        </dgm:presLayoutVars>
      </dgm:prSet>
      <dgm:spPr/>
      <dgm:t>
        <a:bodyPr/>
        <a:lstStyle/>
        <a:p>
          <a:endParaRPr lang="en-US"/>
        </a:p>
      </dgm:t>
    </dgm:pt>
    <dgm:pt modelId="{634359AC-E1F9-4985-A075-5E08C4CA832B}" type="pres">
      <dgm:prSet presAssocID="{C3B34DFF-BCAF-45D0-81B3-0A8EACEB6370}" presName="sibTrans" presStyleCnt="0"/>
      <dgm:spPr/>
    </dgm:pt>
    <dgm:pt modelId="{101A5D80-9A69-42AF-9A3F-A731144BE379}" type="pres">
      <dgm:prSet presAssocID="{EF9763E8-304E-4523-8586-4BDFE8211CF5}" presName="node" presStyleLbl="node1" presStyleIdx="3" presStyleCnt="6">
        <dgm:presLayoutVars>
          <dgm:bulletEnabled val="1"/>
        </dgm:presLayoutVars>
      </dgm:prSet>
      <dgm:spPr/>
      <dgm:t>
        <a:bodyPr/>
        <a:lstStyle/>
        <a:p>
          <a:endParaRPr lang="en-US"/>
        </a:p>
      </dgm:t>
    </dgm:pt>
    <dgm:pt modelId="{3A6214BE-50F2-4BB5-B4F3-105F85657670}" type="pres">
      <dgm:prSet presAssocID="{63213F93-8916-46EA-9A74-E443EC08DCDB}" presName="sibTrans" presStyleCnt="0"/>
      <dgm:spPr/>
    </dgm:pt>
    <dgm:pt modelId="{0412E8BC-3C56-4B03-ABD7-7CB541F5A368}" type="pres">
      <dgm:prSet presAssocID="{FCC0458B-08C6-466F-9693-BF890E3CCB20}" presName="node" presStyleLbl="node1" presStyleIdx="4" presStyleCnt="6">
        <dgm:presLayoutVars>
          <dgm:bulletEnabled val="1"/>
        </dgm:presLayoutVars>
      </dgm:prSet>
      <dgm:spPr/>
      <dgm:t>
        <a:bodyPr/>
        <a:lstStyle/>
        <a:p>
          <a:endParaRPr lang="en-US"/>
        </a:p>
      </dgm:t>
    </dgm:pt>
    <dgm:pt modelId="{843F565D-820D-4CFB-A0BC-7F2AEFE9A339}" type="pres">
      <dgm:prSet presAssocID="{5042E9A5-6C7A-481D-9D4A-64962A4C5E73}" presName="sibTrans" presStyleCnt="0"/>
      <dgm:spPr/>
    </dgm:pt>
    <dgm:pt modelId="{5F7C5290-D0D2-457C-B239-7F3E4D28648F}" type="pres">
      <dgm:prSet presAssocID="{A95A2CD2-A1A5-412C-BC6F-9214C732E04D}" presName="node" presStyleLbl="node1" presStyleIdx="5" presStyleCnt="6">
        <dgm:presLayoutVars>
          <dgm:bulletEnabled val="1"/>
        </dgm:presLayoutVars>
      </dgm:prSet>
      <dgm:spPr/>
      <dgm:t>
        <a:bodyPr/>
        <a:lstStyle/>
        <a:p>
          <a:endParaRPr lang="en-US"/>
        </a:p>
      </dgm:t>
    </dgm:pt>
  </dgm:ptLst>
  <dgm:cxnLst>
    <dgm:cxn modelId="{AB50D02F-F70A-4056-A16E-612A39BE08FD}" type="presOf" srcId="{464243F6-5D33-472F-AE9E-43B98AD63713}" destId="{F4856AFD-BECD-44B4-8938-CFE202805B54}" srcOrd="0" destOrd="0" presId="urn:microsoft.com/office/officeart/2005/8/layout/default"/>
    <dgm:cxn modelId="{A6F6CFCB-72D2-45AF-B233-1922B6082F2F}" type="presOf" srcId="{0683E9EB-7F17-4931-9B04-9F586FA593F4}" destId="{1FD61A59-B7A9-48AA-930A-49B11996C712}" srcOrd="0" destOrd="0" presId="urn:microsoft.com/office/officeart/2005/8/layout/default"/>
    <dgm:cxn modelId="{4D35FA87-6EF7-410D-958D-447506FF9413}" type="presOf" srcId="{0023F5E4-956A-4A95-BD49-20CB1A4CF972}" destId="{457D4836-90FF-45AB-97AD-D868D4C6DCB9}" srcOrd="0" destOrd="0" presId="urn:microsoft.com/office/officeart/2005/8/layout/default"/>
    <dgm:cxn modelId="{482FDB0E-F512-4A50-A6EB-9E65181AFA29}" srcId="{464243F6-5D33-472F-AE9E-43B98AD63713}" destId="{FCC0458B-08C6-466F-9693-BF890E3CCB20}" srcOrd="4" destOrd="0" parTransId="{587B19EA-0C4A-4F39-90D7-A02B4A18F2F7}" sibTransId="{5042E9A5-6C7A-481D-9D4A-64962A4C5E73}"/>
    <dgm:cxn modelId="{E418481D-945C-4FC1-9AA3-EB4B4E7D0F46}" type="presOf" srcId="{A95A2CD2-A1A5-412C-BC6F-9214C732E04D}" destId="{5F7C5290-D0D2-457C-B239-7F3E4D28648F}" srcOrd="0" destOrd="0" presId="urn:microsoft.com/office/officeart/2005/8/layout/default"/>
    <dgm:cxn modelId="{60C695C8-FDB8-45B8-A027-ADD0B8E0D9E5}" srcId="{464243F6-5D33-472F-AE9E-43B98AD63713}" destId="{22E284C1-62CF-4A4A-A5CC-9ED123AA7F22}" srcOrd="0" destOrd="0" parTransId="{4C28E43E-76E3-474E-8F6F-C0F894C06553}" sibTransId="{0A62C3A0-A00F-4E94-B0F4-79EFB06CAA6C}"/>
    <dgm:cxn modelId="{A1F0E00E-BC3C-4F90-8C66-EC821670CE01}" type="presOf" srcId="{EF9763E8-304E-4523-8586-4BDFE8211CF5}" destId="{101A5D80-9A69-42AF-9A3F-A731144BE379}" srcOrd="0" destOrd="0" presId="urn:microsoft.com/office/officeart/2005/8/layout/default"/>
    <dgm:cxn modelId="{083D6171-B65B-4783-A9CE-8BF100B13BDD}" srcId="{464243F6-5D33-472F-AE9E-43B98AD63713}" destId="{EF9763E8-304E-4523-8586-4BDFE8211CF5}" srcOrd="3" destOrd="0" parTransId="{C45AA741-6AD8-4CC5-810F-25DA8F602EF2}" sibTransId="{63213F93-8916-46EA-9A74-E443EC08DCDB}"/>
    <dgm:cxn modelId="{F1D644C8-36CC-43D4-A405-1BD82CD9AC1A}" type="presOf" srcId="{22E284C1-62CF-4A4A-A5CC-9ED123AA7F22}" destId="{1B9EFF83-C6CA-4E4B-A748-FE1267D87410}" srcOrd="0" destOrd="0" presId="urn:microsoft.com/office/officeart/2005/8/layout/default"/>
    <dgm:cxn modelId="{80FF8DE1-8C00-438F-8DFF-FF2016F4D33C}" srcId="{464243F6-5D33-472F-AE9E-43B98AD63713}" destId="{0023F5E4-956A-4A95-BD49-20CB1A4CF972}" srcOrd="1" destOrd="0" parTransId="{B9DAEF1C-498B-47C7-8F3F-DF028169E68B}" sibTransId="{0E3E694F-72E3-4645-907D-68F6D755F13D}"/>
    <dgm:cxn modelId="{E7003F42-317E-423B-82FF-484518A3A250}" srcId="{464243F6-5D33-472F-AE9E-43B98AD63713}" destId="{0683E9EB-7F17-4931-9B04-9F586FA593F4}" srcOrd="2" destOrd="0" parTransId="{19D3880F-4D5F-4AF8-9E6D-858445304E36}" sibTransId="{C3B34DFF-BCAF-45D0-81B3-0A8EACEB6370}"/>
    <dgm:cxn modelId="{F08F91A1-43CE-4753-A949-E6DBF1F79663}" srcId="{464243F6-5D33-472F-AE9E-43B98AD63713}" destId="{A95A2CD2-A1A5-412C-BC6F-9214C732E04D}" srcOrd="5" destOrd="0" parTransId="{46F574CA-8E35-4389-9B22-FB5804A95B9A}" sibTransId="{ECB4DB6C-F45D-499D-B622-6EB199D01975}"/>
    <dgm:cxn modelId="{B2068567-A36A-4519-BCCF-78F559323EAD}" type="presOf" srcId="{FCC0458B-08C6-466F-9693-BF890E3CCB20}" destId="{0412E8BC-3C56-4B03-ABD7-7CB541F5A368}" srcOrd="0" destOrd="0" presId="urn:microsoft.com/office/officeart/2005/8/layout/default"/>
    <dgm:cxn modelId="{2C8F14B2-6843-41A5-AE11-D326EFDCFEC6}" type="presParOf" srcId="{F4856AFD-BECD-44B4-8938-CFE202805B54}" destId="{1B9EFF83-C6CA-4E4B-A748-FE1267D87410}" srcOrd="0" destOrd="0" presId="urn:microsoft.com/office/officeart/2005/8/layout/default"/>
    <dgm:cxn modelId="{096C277E-AD08-4C0E-A5B1-A12D10565E39}" type="presParOf" srcId="{F4856AFD-BECD-44B4-8938-CFE202805B54}" destId="{8BB50B7A-43EF-40F1-BC4E-47DA1FB571A9}" srcOrd="1" destOrd="0" presId="urn:microsoft.com/office/officeart/2005/8/layout/default"/>
    <dgm:cxn modelId="{65E8946A-992A-4137-B82A-9AF656238B72}" type="presParOf" srcId="{F4856AFD-BECD-44B4-8938-CFE202805B54}" destId="{457D4836-90FF-45AB-97AD-D868D4C6DCB9}" srcOrd="2" destOrd="0" presId="urn:microsoft.com/office/officeart/2005/8/layout/default"/>
    <dgm:cxn modelId="{EFC4A3CF-F34F-4BE2-9C11-61BFF3387F37}" type="presParOf" srcId="{F4856AFD-BECD-44B4-8938-CFE202805B54}" destId="{8A40A13F-6C1A-4F02-9198-C1A627FAC518}" srcOrd="3" destOrd="0" presId="urn:microsoft.com/office/officeart/2005/8/layout/default"/>
    <dgm:cxn modelId="{CD6A9AF6-DA21-44FD-A6DC-F072978597D9}" type="presParOf" srcId="{F4856AFD-BECD-44B4-8938-CFE202805B54}" destId="{1FD61A59-B7A9-48AA-930A-49B11996C712}" srcOrd="4" destOrd="0" presId="urn:microsoft.com/office/officeart/2005/8/layout/default"/>
    <dgm:cxn modelId="{E1F25ABA-0C1C-4926-A437-3C5415066B48}" type="presParOf" srcId="{F4856AFD-BECD-44B4-8938-CFE202805B54}" destId="{634359AC-E1F9-4985-A075-5E08C4CA832B}" srcOrd="5" destOrd="0" presId="urn:microsoft.com/office/officeart/2005/8/layout/default"/>
    <dgm:cxn modelId="{67EBF4C3-C0B8-48BA-AC72-4EC8DF8BE0D1}" type="presParOf" srcId="{F4856AFD-BECD-44B4-8938-CFE202805B54}" destId="{101A5D80-9A69-42AF-9A3F-A731144BE379}" srcOrd="6" destOrd="0" presId="urn:microsoft.com/office/officeart/2005/8/layout/default"/>
    <dgm:cxn modelId="{A0FFEA68-00D5-4DF9-A9B7-5CBA1295E7E7}" type="presParOf" srcId="{F4856AFD-BECD-44B4-8938-CFE202805B54}" destId="{3A6214BE-50F2-4BB5-B4F3-105F85657670}" srcOrd="7" destOrd="0" presId="urn:microsoft.com/office/officeart/2005/8/layout/default"/>
    <dgm:cxn modelId="{BBAA1EBA-1C0E-4C6D-A132-F84FE0B5A918}" type="presParOf" srcId="{F4856AFD-BECD-44B4-8938-CFE202805B54}" destId="{0412E8BC-3C56-4B03-ABD7-7CB541F5A368}" srcOrd="8" destOrd="0" presId="urn:microsoft.com/office/officeart/2005/8/layout/default"/>
    <dgm:cxn modelId="{025A26EF-9D11-47AB-BBE0-C4F3EF07675B}" type="presParOf" srcId="{F4856AFD-BECD-44B4-8938-CFE202805B54}" destId="{843F565D-820D-4CFB-A0BC-7F2AEFE9A339}" srcOrd="9" destOrd="0" presId="urn:microsoft.com/office/officeart/2005/8/layout/default"/>
    <dgm:cxn modelId="{8918A81F-F32C-4EC2-9A7F-273B39E232B4}" type="presParOf" srcId="{F4856AFD-BECD-44B4-8938-CFE202805B54}" destId="{5F7C5290-D0D2-457C-B239-7F3E4D28648F}"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CF94C0-3C24-4EBC-9B86-1223E849A8EF}">
      <dsp:nvSpPr>
        <dsp:cNvPr id="0" name=""/>
        <dsp:cNvSpPr/>
      </dsp:nvSpPr>
      <dsp:spPr>
        <a:xfrm>
          <a:off x="0" y="35880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35379C-00D4-422F-A20A-BFE8B788C596}">
      <dsp:nvSpPr>
        <dsp:cNvPr id="0" name=""/>
        <dsp:cNvSpPr/>
      </dsp:nvSpPr>
      <dsp:spPr>
        <a:xfrm>
          <a:off x="464717" y="9312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Social Media on Campus</a:t>
          </a:r>
          <a:endParaRPr lang="en-US" sz="1800" kern="1200" dirty="0"/>
        </a:p>
      </dsp:txBody>
      <dsp:txXfrm>
        <a:off x="490656" y="119061"/>
        <a:ext cx="6454173" cy="479482"/>
      </dsp:txXfrm>
    </dsp:sp>
    <dsp:sp modelId="{E632821A-F24F-4F70-AF82-494EF4BCA46D}">
      <dsp:nvSpPr>
        <dsp:cNvPr id="0" name=""/>
        <dsp:cNvSpPr/>
      </dsp:nvSpPr>
      <dsp:spPr>
        <a:xfrm>
          <a:off x="0" y="117528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4AA7246-90C1-4DF2-AB07-7CCB31C3B611}">
      <dsp:nvSpPr>
        <dsp:cNvPr id="0" name=""/>
        <dsp:cNvSpPr/>
      </dsp:nvSpPr>
      <dsp:spPr>
        <a:xfrm>
          <a:off x="464717" y="90960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Addictive Quality of Social Media</a:t>
          </a:r>
          <a:endParaRPr lang="en-US" sz="1800" kern="1200" dirty="0"/>
        </a:p>
      </dsp:txBody>
      <dsp:txXfrm>
        <a:off x="490656" y="935541"/>
        <a:ext cx="6454173" cy="479482"/>
      </dsp:txXfrm>
    </dsp:sp>
    <dsp:sp modelId="{44ACBB67-B6A7-472B-8A5A-83DE457D2E67}">
      <dsp:nvSpPr>
        <dsp:cNvPr id="0" name=""/>
        <dsp:cNvSpPr/>
      </dsp:nvSpPr>
      <dsp:spPr>
        <a:xfrm>
          <a:off x="0" y="199176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79333B-8FDB-4758-AB74-D6B0A3BE3D29}">
      <dsp:nvSpPr>
        <dsp:cNvPr id="0" name=""/>
        <dsp:cNvSpPr/>
      </dsp:nvSpPr>
      <dsp:spPr>
        <a:xfrm>
          <a:off x="464717" y="172608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Health Impacts</a:t>
          </a:r>
          <a:endParaRPr lang="en-US" sz="1800" kern="1200" dirty="0"/>
        </a:p>
      </dsp:txBody>
      <dsp:txXfrm>
        <a:off x="490656" y="1752021"/>
        <a:ext cx="6454173" cy="479482"/>
      </dsp:txXfrm>
    </dsp:sp>
    <dsp:sp modelId="{165210B6-48A5-469E-96AA-912688BAC647}">
      <dsp:nvSpPr>
        <dsp:cNvPr id="0" name=""/>
        <dsp:cNvSpPr/>
      </dsp:nvSpPr>
      <dsp:spPr>
        <a:xfrm>
          <a:off x="0" y="280824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C4C70B-055B-4E7F-AF94-5B1E913C9210}">
      <dsp:nvSpPr>
        <dsp:cNvPr id="0" name=""/>
        <dsp:cNvSpPr/>
      </dsp:nvSpPr>
      <dsp:spPr>
        <a:xfrm>
          <a:off x="464717" y="254256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Faculty &amp; Staff</a:t>
          </a:r>
          <a:endParaRPr lang="en-US" sz="1800" kern="1200" dirty="0"/>
        </a:p>
      </dsp:txBody>
      <dsp:txXfrm>
        <a:off x="490656" y="2568501"/>
        <a:ext cx="6454173" cy="479482"/>
      </dsp:txXfrm>
    </dsp:sp>
    <dsp:sp modelId="{67C4DCAC-226C-4FC5-92DA-092B92B86A31}">
      <dsp:nvSpPr>
        <dsp:cNvPr id="0" name=""/>
        <dsp:cNvSpPr/>
      </dsp:nvSpPr>
      <dsp:spPr>
        <a:xfrm>
          <a:off x="0" y="362472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6AA04F-3E47-46BF-996D-41633F9C559A}">
      <dsp:nvSpPr>
        <dsp:cNvPr id="0" name=""/>
        <dsp:cNvSpPr/>
      </dsp:nvSpPr>
      <dsp:spPr>
        <a:xfrm>
          <a:off x="464717" y="335904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Safety &amp; Security Concerns</a:t>
          </a:r>
          <a:endParaRPr lang="en-US" sz="1800" kern="1200" dirty="0"/>
        </a:p>
      </dsp:txBody>
      <dsp:txXfrm>
        <a:off x="490656" y="3384981"/>
        <a:ext cx="6454173" cy="479482"/>
      </dsp:txXfrm>
    </dsp:sp>
    <dsp:sp modelId="{0D72A6A2-85C0-463B-BA29-E802C7563B44}">
      <dsp:nvSpPr>
        <dsp:cNvPr id="0" name=""/>
        <dsp:cNvSpPr/>
      </dsp:nvSpPr>
      <dsp:spPr>
        <a:xfrm>
          <a:off x="0" y="4441202"/>
          <a:ext cx="9294359" cy="453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97C902-4E30-4908-A0B7-97DA51DEC723}">
      <dsp:nvSpPr>
        <dsp:cNvPr id="0" name=""/>
        <dsp:cNvSpPr/>
      </dsp:nvSpPr>
      <dsp:spPr>
        <a:xfrm>
          <a:off x="464717" y="4175522"/>
          <a:ext cx="6506051" cy="5313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5913" tIns="0" rIns="245913" bIns="0" numCol="1" spcCol="1270" anchor="ctr" anchorCtr="0">
          <a:noAutofit/>
        </a:bodyPr>
        <a:lstStyle/>
        <a:p>
          <a:pPr lvl="0" algn="l" defTabSz="800100">
            <a:lnSpc>
              <a:spcPct val="90000"/>
            </a:lnSpc>
            <a:spcBef>
              <a:spcPct val="0"/>
            </a:spcBef>
            <a:spcAft>
              <a:spcPct val="35000"/>
            </a:spcAft>
          </a:pPr>
          <a:r>
            <a:rPr lang="en-US" sz="1800" kern="1200" dirty="0" smtClean="0"/>
            <a:t>Next Steps</a:t>
          </a:r>
          <a:endParaRPr lang="en-US" sz="1800" kern="1200" dirty="0"/>
        </a:p>
      </dsp:txBody>
      <dsp:txXfrm>
        <a:off x="490656" y="4201461"/>
        <a:ext cx="6454173" cy="479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9EFF83-C6CA-4E4B-A748-FE1267D87410}">
      <dsp:nvSpPr>
        <dsp:cNvPr id="0" name=""/>
        <dsp:cNvSpPr/>
      </dsp:nvSpPr>
      <dsp:spPr>
        <a:xfrm>
          <a:off x="1066174" y="59"/>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Stalking</a:t>
          </a:r>
          <a:endParaRPr lang="en-US" sz="2500" kern="1200" dirty="0"/>
        </a:p>
      </dsp:txBody>
      <dsp:txXfrm>
        <a:off x="1066174" y="59"/>
        <a:ext cx="2282848" cy="1369709"/>
      </dsp:txXfrm>
    </dsp:sp>
    <dsp:sp modelId="{457D4836-90FF-45AB-97AD-D868D4C6DCB9}">
      <dsp:nvSpPr>
        <dsp:cNvPr id="0" name=""/>
        <dsp:cNvSpPr/>
      </dsp:nvSpPr>
      <dsp:spPr>
        <a:xfrm>
          <a:off x="3577308" y="59"/>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Bullying</a:t>
          </a:r>
          <a:endParaRPr lang="en-US" sz="2500" kern="1200" dirty="0"/>
        </a:p>
      </dsp:txBody>
      <dsp:txXfrm>
        <a:off x="3577308" y="59"/>
        <a:ext cx="2282848" cy="1369709"/>
      </dsp:txXfrm>
    </dsp:sp>
    <dsp:sp modelId="{1FD61A59-B7A9-48AA-930A-49B11996C712}">
      <dsp:nvSpPr>
        <dsp:cNvPr id="0" name=""/>
        <dsp:cNvSpPr/>
      </dsp:nvSpPr>
      <dsp:spPr>
        <a:xfrm>
          <a:off x="1066174" y="1598053"/>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Hacking &amp; Phishing</a:t>
          </a:r>
          <a:endParaRPr lang="en-US" sz="2500" kern="1200" dirty="0"/>
        </a:p>
      </dsp:txBody>
      <dsp:txXfrm>
        <a:off x="1066174" y="1598053"/>
        <a:ext cx="2282848" cy="1369709"/>
      </dsp:txXfrm>
    </dsp:sp>
    <dsp:sp modelId="{101A5D80-9A69-42AF-9A3F-A731144BE379}">
      <dsp:nvSpPr>
        <dsp:cNvPr id="0" name=""/>
        <dsp:cNvSpPr/>
      </dsp:nvSpPr>
      <dsp:spPr>
        <a:xfrm>
          <a:off x="3577308" y="1598053"/>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Identity Theft</a:t>
          </a:r>
          <a:endParaRPr lang="en-US" sz="2500" kern="1200" dirty="0"/>
        </a:p>
      </dsp:txBody>
      <dsp:txXfrm>
        <a:off x="3577308" y="1598053"/>
        <a:ext cx="2282848" cy="1369709"/>
      </dsp:txXfrm>
    </dsp:sp>
    <dsp:sp modelId="{0412E8BC-3C56-4B03-ABD7-7CB541F5A368}">
      <dsp:nvSpPr>
        <dsp:cNvPr id="0" name=""/>
        <dsp:cNvSpPr/>
      </dsp:nvSpPr>
      <dsp:spPr>
        <a:xfrm>
          <a:off x="1066174" y="3196047"/>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Impersonation</a:t>
          </a:r>
          <a:endParaRPr lang="en-US" sz="2500" kern="1200" dirty="0"/>
        </a:p>
      </dsp:txBody>
      <dsp:txXfrm>
        <a:off x="1066174" y="3196047"/>
        <a:ext cx="2282848" cy="1369709"/>
      </dsp:txXfrm>
    </dsp:sp>
    <dsp:sp modelId="{5F7C5290-D0D2-457C-B239-7F3E4D28648F}">
      <dsp:nvSpPr>
        <dsp:cNvPr id="0" name=""/>
        <dsp:cNvSpPr/>
      </dsp:nvSpPr>
      <dsp:spPr>
        <a:xfrm>
          <a:off x="3577308" y="3196047"/>
          <a:ext cx="2282848" cy="136970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r>
            <a:rPr lang="en-US" sz="2500" kern="1200" dirty="0" smtClean="0"/>
            <a:t>Negative Use of Online Persona </a:t>
          </a:r>
          <a:endParaRPr lang="en-US" sz="2500" kern="1200" dirty="0"/>
        </a:p>
      </dsp:txBody>
      <dsp:txXfrm>
        <a:off x="3577308" y="3196047"/>
        <a:ext cx="2282848" cy="1369709"/>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D89648-B71C-483B-8D08-59995F839ADF}" type="datetimeFigureOut">
              <a:rPr lang="en-US" smtClean="0"/>
              <a:t>1/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31C722-9110-4F21-BE45-137F4876AC8F}" type="slidenum">
              <a:rPr lang="en-US" smtClean="0"/>
              <a:t>‹#›</a:t>
            </a:fld>
            <a:endParaRPr lang="en-US" dirty="0"/>
          </a:p>
        </p:txBody>
      </p:sp>
    </p:spTree>
    <p:extLst>
      <p:ext uri="{BB962C8B-B14F-4D97-AF65-F5344CB8AC3E}">
        <p14:creationId xmlns:p14="http://schemas.microsoft.com/office/powerpoint/2010/main" val="39781446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2</a:t>
            </a:fld>
            <a:endParaRPr lang="en-US" dirty="0"/>
          </a:p>
        </p:txBody>
      </p:sp>
    </p:spTree>
    <p:extLst>
      <p:ext uri="{BB962C8B-B14F-4D97-AF65-F5344CB8AC3E}">
        <p14:creationId xmlns:p14="http://schemas.microsoft.com/office/powerpoint/2010/main" val="916397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4</a:t>
            </a:fld>
            <a:endParaRPr lang="en-US" dirty="0"/>
          </a:p>
        </p:txBody>
      </p:sp>
    </p:spTree>
    <p:extLst>
      <p:ext uri="{BB962C8B-B14F-4D97-AF65-F5344CB8AC3E}">
        <p14:creationId xmlns:p14="http://schemas.microsoft.com/office/powerpoint/2010/main" val="5316154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solidFill>
                <a:schemeClr val="accent1"/>
              </a:solidFill>
            </a:endParaRPr>
          </a:p>
        </p:txBody>
      </p:sp>
      <p:sp>
        <p:nvSpPr>
          <p:cNvPr id="4" name="Slide Number Placeholder 3"/>
          <p:cNvSpPr>
            <a:spLocks noGrp="1"/>
          </p:cNvSpPr>
          <p:nvPr>
            <p:ph type="sldNum" sz="quarter" idx="10"/>
          </p:nvPr>
        </p:nvSpPr>
        <p:spPr/>
        <p:txBody>
          <a:bodyPr/>
          <a:lstStyle/>
          <a:p>
            <a:fld id="{8D31C722-9110-4F21-BE45-137F4876AC8F}" type="slidenum">
              <a:rPr lang="en-US" smtClean="0"/>
              <a:t>15</a:t>
            </a:fld>
            <a:endParaRPr lang="en-US" dirty="0"/>
          </a:p>
        </p:txBody>
      </p:sp>
    </p:spTree>
    <p:extLst>
      <p:ext uri="{BB962C8B-B14F-4D97-AF65-F5344CB8AC3E}">
        <p14:creationId xmlns:p14="http://schemas.microsoft.com/office/powerpoint/2010/main" val="2365517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6</a:t>
            </a:fld>
            <a:endParaRPr lang="en-US" dirty="0"/>
          </a:p>
        </p:txBody>
      </p:sp>
    </p:spTree>
    <p:extLst>
      <p:ext uri="{BB962C8B-B14F-4D97-AF65-F5344CB8AC3E}">
        <p14:creationId xmlns:p14="http://schemas.microsoft.com/office/powerpoint/2010/main" val="1652667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3</a:t>
            </a:fld>
            <a:endParaRPr lang="en-US" dirty="0"/>
          </a:p>
        </p:txBody>
      </p:sp>
    </p:spTree>
    <p:extLst>
      <p:ext uri="{BB962C8B-B14F-4D97-AF65-F5344CB8AC3E}">
        <p14:creationId xmlns:p14="http://schemas.microsoft.com/office/powerpoint/2010/main" val="68421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rgeon</a:t>
            </a:r>
            <a:r>
              <a:rPr lang="en-US" baseline="0" dirty="0" smtClean="0"/>
              <a:t> General’s Advisory Report excerpt</a:t>
            </a:r>
          </a:p>
          <a:p>
            <a:r>
              <a:rPr lang="en-US" baseline="0" dirty="0" smtClean="0"/>
              <a:t>“</a:t>
            </a:r>
            <a:r>
              <a:rPr lang="en-US" dirty="0" smtClean="0"/>
              <a:t>Social media can provide benefits for some youth by providing positive community and connection with others who share identities, abilities, and interests. It can provide access to important information and create a space for self-expression. The ability to form and maintain friendships online and develop social connections are among the positive effects of social media use for youth. , These relationships can afford opportunities to have positive interactions with more diverse peer groups than are available to them offline and can provide important social support to youth. The buffering effects against stress that online social support from peers may provide can be especially important for youth who are often marginalized, including racial, ethnic, and sexual and gender minorities. , For example, studies have shown that social media may support the mental health and well-being of lesbian, gay, bisexual, asexual, transgender, queer, intersex and other youths by enabling peer connection, identity development and management, and social support. Seven out of ten adolescent girls of color report encountering positive or identity-affirming content related to race across social media platforms. A majority of adolescents report that social media helps them feel more accepted (58%), like they have people who can support them through tough times (67%), like they have a place to show their creative side (71%), and more connected to what’s going on in their friends’ lives (80%). In addition, research suggests that social media-based and other digitally-based mental health interventions may also be helpful for some children and adolescents by promoting help-seeking behaviors and serving as a gateway to initiating mental health care.”</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4</a:t>
            </a:fld>
            <a:endParaRPr lang="en-US" dirty="0"/>
          </a:p>
        </p:txBody>
      </p:sp>
    </p:spTree>
    <p:extLst>
      <p:ext uri="{BB962C8B-B14F-4D97-AF65-F5344CB8AC3E}">
        <p14:creationId xmlns:p14="http://schemas.microsoft.com/office/powerpoint/2010/main" val="890213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5</a:t>
            </a:fld>
            <a:endParaRPr lang="en-US" dirty="0"/>
          </a:p>
        </p:txBody>
      </p:sp>
    </p:spTree>
    <p:extLst>
      <p:ext uri="{BB962C8B-B14F-4D97-AF65-F5344CB8AC3E}">
        <p14:creationId xmlns:p14="http://schemas.microsoft.com/office/powerpoint/2010/main" val="32348324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3</a:t>
            </a:r>
            <a:r>
              <a:rPr lang="en-US" baseline="0" dirty="0" smtClean="0"/>
              <a:t> – 4 hours just on social media sites.</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6</a:t>
            </a:fld>
            <a:endParaRPr lang="en-US" dirty="0"/>
          </a:p>
        </p:txBody>
      </p:sp>
    </p:spTree>
    <p:extLst>
      <p:ext uri="{BB962C8B-B14F-4D97-AF65-F5344CB8AC3E}">
        <p14:creationId xmlns:p14="http://schemas.microsoft.com/office/powerpoint/2010/main" val="3037886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more every day…</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7</a:t>
            </a:fld>
            <a:endParaRPr lang="en-US" dirty="0"/>
          </a:p>
        </p:txBody>
      </p:sp>
    </p:spTree>
    <p:extLst>
      <p:ext uri="{BB962C8B-B14F-4D97-AF65-F5344CB8AC3E}">
        <p14:creationId xmlns:p14="http://schemas.microsoft.com/office/powerpoint/2010/main" val="4194077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Platforms</a:t>
            </a:r>
            <a:r>
              <a:rPr lang="en-US" baseline="0" dirty="0" smtClean="0"/>
              <a:t> </a:t>
            </a:r>
            <a:r>
              <a:rPr lang="en-US" dirty="0" smtClean="0"/>
              <a:t>use algorithms to determine what content they are most likely to engage with and show them that content. This means that users are more likely to see posts from their friends and family, encouraging them to keep using the platform.</a:t>
            </a:r>
          </a:p>
          <a:p>
            <a:pPr marL="171450" indent="-171450">
              <a:buFont typeface="Arial" panose="020B0604020202020204" pitchFamily="34" charset="0"/>
              <a:buChar char="•"/>
            </a:pPr>
            <a:r>
              <a:rPr lang="en-US" dirty="0" smtClean="0"/>
              <a:t>The longer the user spends on the platform, the more information is gathered and the more the supplier is able to advertise.</a:t>
            </a:r>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9</a:t>
            </a:fld>
            <a:endParaRPr lang="en-US" dirty="0"/>
          </a:p>
        </p:txBody>
      </p:sp>
    </p:spTree>
    <p:extLst>
      <p:ext uri="{BB962C8B-B14F-4D97-AF65-F5344CB8AC3E}">
        <p14:creationId xmlns:p14="http://schemas.microsoft.com/office/powerpoint/2010/main" val="4162300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solidFill>
                  <a:srgbClr val="231F20"/>
                </a:solidFill>
                <a:latin typeface="Proxima Nova"/>
              </a:rPr>
              <a:t>Social media platforms ignite the same reaction in the brain as gambling and recreational drugs.</a:t>
            </a:r>
          </a:p>
          <a:p>
            <a:pPr marL="171450" indent="-171450">
              <a:buFont typeface="Arial" panose="020B0604020202020204" pitchFamily="34" charset="0"/>
              <a:buChar char="•"/>
            </a:pPr>
            <a:r>
              <a:rPr lang="en-US" dirty="0" smtClean="0">
                <a:solidFill>
                  <a:srgbClr val="231F20"/>
                </a:solidFill>
                <a:latin typeface="Proxima Nova"/>
              </a:rPr>
              <a:t>Engaging in</a:t>
            </a:r>
            <a:r>
              <a:rPr lang="en-US" baseline="0" dirty="0" smtClean="0">
                <a:solidFill>
                  <a:srgbClr val="231F20"/>
                </a:solidFill>
                <a:latin typeface="Proxima Nova"/>
              </a:rPr>
              <a:t> </a:t>
            </a:r>
            <a:r>
              <a:rPr lang="en-US" dirty="0" smtClean="0">
                <a:solidFill>
                  <a:srgbClr val="231F20"/>
                </a:solidFill>
                <a:latin typeface="Proxima Nova"/>
              </a:rPr>
              <a:t>pleasurable activity, the brain releases a hormone (dopamine). Dopamine is responsible for feelings of pleasure.</a:t>
            </a:r>
          </a:p>
          <a:p>
            <a:pPr marL="171450" indent="-171450">
              <a:buFont typeface="Arial" panose="020B0604020202020204" pitchFamily="34" charset="0"/>
              <a:buChar char="•"/>
            </a:pPr>
            <a:r>
              <a:rPr lang="en-US" dirty="0" smtClean="0">
                <a:solidFill>
                  <a:srgbClr val="231F20"/>
                </a:solidFill>
                <a:latin typeface="Proxima Nova"/>
              </a:rPr>
              <a:t>Social media notifications (likes, retweets, comments) ca</a:t>
            </a:r>
            <a:r>
              <a:rPr lang="en-US" baseline="0" dirty="0" smtClean="0">
                <a:solidFill>
                  <a:srgbClr val="231F20"/>
                </a:solidFill>
                <a:latin typeface="Proxima Nova"/>
              </a:rPr>
              <a:t>n increase </a:t>
            </a:r>
            <a:r>
              <a:rPr lang="en-US" dirty="0" smtClean="0">
                <a:solidFill>
                  <a:srgbClr val="231F20"/>
                </a:solidFill>
                <a:latin typeface="Proxima Nova"/>
              </a:rPr>
              <a:t>dopamine levels. This may cause positive feelings, reinforcing additional social media use.</a:t>
            </a:r>
          </a:p>
          <a:p>
            <a:pPr marL="171450" indent="-171450">
              <a:buFont typeface="Arial" panose="020B0604020202020204" pitchFamily="34" charset="0"/>
              <a:buChar char="•"/>
            </a:pPr>
            <a:r>
              <a:rPr lang="en-US" i="0" dirty="0" smtClean="0">
                <a:solidFill>
                  <a:srgbClr val="231F20"/>
                </a:solidFill>
                <a:latin typeface="Proxima Nova"/>
              </a:rPr>
              <a:t>Business Ethics Quarterly - </a:t>
            </a:r>
            <a:r>
              <a:rPr lang="en-US" dirty="0" smtClean="0">
                <a:solidFill>
                  <a:srgbClr val="231F20"/>
                </a:solidFill>
                <a:latin typeface="Proxima Nova"/>
              </a:rPr>
              <a:t>authors wrote those who design social media platforms benefit from</a:t>
            </a:r>
            <a:r>
              <a:rPr lang="en-US" baseline="0" dirty="0" smtClean="0">
                <a:solidFill>
                  <a:srgbClr val="231F20"/>
                </a:solidFill>
                <a:latin typeface="Proxima Nova"/>
              </a:rPr>
              <a:t> user </a:t>
            </a:r>
            <a:r>
              <a:rPr lang="en-US" dirty="0" smtClean="0">
                <a:solidFill>
                  <a:srgbClr val="231F20"/>
                </a:solidFill>
                <a:latin typeface="Proxima Nova"/>
              </a:rPr>
              <a:t>addiction and may intentionally design these platforms to be addictive.</a:t>
            </a:r>
            <a:endParaRPr lang="en-US" b="0" i="0" dirty="0" smtClean="0">
              <a:solidFill>
                <a:srgbClr val="231F20"/>
              </a:solidFill>
              <a:effectLst/>
              <a:latin typeface="Proxima Nova"/>
            </a:endParaRPr>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0</a:t>
            </a:fld>
            <a:endParaRPr lang="en-US" dirty="0"/>
          </a:p>
        </p:txBody>
      </p:sp>
    </p:spTree>
    <p:extLst>
      <p:ext uri="{BB962C8B-B14F-4D97-AF65-F5344CB8AC3E}">
        <p14:creationId xmlns:p14="http://schemas.microsoft.com/office/powerpoint/2010/main" val="267986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Social media users</a:t>
            </a:r>
            <a:r>
              <a:rPr lang="en-US" baseline="0" dirty="0" smtClean="0"/>
              <a:t> </a:t>
            </a:r>
            <a:r>
              <a:rPr lang="en-US" dirty="0" smtClean="0"/>
              <a:t>often present a curated version of people's lives,</a:t>
            </a:r>
            <a:r>
              <a:rPr lang="en-US" baseline="0" dirty="0" smtClean="0"/>
              <a:t> leading </a:t>
            </a:r>
            <a:r>
              <a:rPr lang="en-US" dirty="0" smtClean="0"/>
              <a:t>to comparison and feelings inadequate. Pressure mounts</a:t>
            </a:r>
            <a:r>
              <a:rPr lang="en-US" baseline="0" dirty="0" smtClean="0"/>
              <a:t> </a:t>
            </a:r>
            <a:r>
              <a:rPr lang="en-US" dirty="0" smtClean="0"/>
              <a:t>to show a perfect image online, which can be exhausting and damaging to their mental health.  S</a:t>
            </a:r>
            <a:r>
              <a:rPr lang="en-US" b="0" dirty="0" smtClean="0"/>
              <a:t>ocial media is directly linked to mental health conditions in college-aged people, especially young women.</a:t>
            </a:r>
            <a:endParaRPr lang="en-US" dirty="0" smtClean="0"/>
          </a:p>
          <a:p>
            <a:endParaRPr lang="en-US" dirty="0"/>
          </a:p>
        </p:txBody>
      </p:sp>
      <p:sp>
        <p:nvSpPr>
          <p:cNvPr id="4" name="Slide Number Placeholder 3"/>
          <p:cNvSpPr>
            <a:spLocks noGrp="1"/>
          </p:cNvSpPr>
          <p:nvPr>
            <p:ph type="sldNum" sz="quarter" idx="10"/>
          </p:nvPr>
        </p:nvSpPr>
        <p:spPr/>
        <p:txBody>
          <a:bodyPr/>
          <a:lstStyle/>
          <a:p>
            <a:fld id="{8D31C722-9110-4F21-BE45-137F4876AC8F}" type="slidenum">
              <a:rPr lang="en-US" smtClean="0"/>
              <a:t>11</a:t>
            </a:fld>
            <a:endParaRPr lang="en-US" dirty="0"/>
          </a:p>
        </p:txBody>
      </p:sp>
    </p:spTree>
    <p:extLst>
      <p:ext uri="{BB962C8B-B14F-4D97-AF65-F5344CB8AC3E}">
        <p14:creationId xmlns:p14="http://schemas.microsoft.com/office/powerpoint/2010/main" val="609395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26.bin"/><Relationship Id="rId4" Type="http://schemas.openxmlformats.org/officeDocument/2006/relationships/image" Target="../media/image11.png"/><Relationship Id="rId9" Type="http://schemas.openxmlformats.org/officeDocument/2006/relationships/image" Target="../media/image18.sv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2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2.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5.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4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ntent">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7381"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2505671"/>
            <a:ext cx="8423034" cy="184665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698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4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7" y="806807"/>
            <a:ext cx="54959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6"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5495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3554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66"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53999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 callout gradient">
    <p:spTree>
      <p:nvGrpSpPr>
        <p:cNvPr id="1" name=""/>
        <p:cNvGrpSpPr/>
        <p:nvPr/>
      </p:nvGrpSpPr>
      <p:grpSpPr>
        <a:xfrm>
          <a:off x="0" y="0"/>
          <a:ext cx="0" cy="0"/>
          <a:chOff x="0" y="0"/>
          <a:chExt cx="0" cy="0"/>
        </a:xfrm>
      </p:grpSpPr>
      <p:sp>
        <p:nvSpPr>
          <p:cNvPr id="11" name="Freeform 10">
            <a:extLst>
              <a:ext uri="{FF2B5EF4-FFF2-40B4-BE49-F238E27FC236}">
                <a16:creationId xmlns:a16="http://schemas.microsoft.com/office/drawing/2014/main" id="{6C28D570-764E-8746-A9D3-AD94F6E88F8D}"/>
              </a:ext>
            </a:extLst>
          </p:cNvPr>
          <p:cNvSpPr/>
          <p:nvPr userDrawn="1"/>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blipFill dpi="0" rotWithShape="1">
            <a:blip r:embed="rId4"/>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dirty="0"/>
          </a:p>
        </p:txBody>
      </p:sp>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539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411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hot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41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9"/>
          <p:cNvSpPr>
            <a:spLocks noGrp="1"/>
          </p:cNvSpPr>
          <p:nvPr>
            <p:ph type="pic" sz="quarter" idx="12" hasCustomPrompt="1"/>
          </p:nvPr>
        </p:nvSpPr>
        <p:spPr>
          <a:xfrm>
            <a:off x="8131175" y="0"/>
            <a:ext cx="4060825" cy="6858000"/>
          </a:xfrm>
          <a:custGeom>
            <a:avLst/>
            <a:gdLst>
              <a:gd name="connsiteX0" fmla="*/ 0 w 4060825"/>
              <a:gd name="connsiteY0" fmla="*/ 0 h 6858000"/>
              <a:gd name="connsiteX1" fmla="*/ 4060825 w 4060825"/>
              <a:gd name="connsiteY1" fmla="*/ 0 h 6858000"/>
              <a:gd name="connsiteX2" fmla="*/ 4060825 w 4060825"/>
              <a:gd name="connsiteY2" fmla="*/ 6858000 h 6858000"/>
              <a:gd name="connsiteX3" fmla="*/ 0 w 4060825"/>
              <a:gd name="connsiteY3" fmla="*/ 6858000 h 6858000"/>
              <a:gd name="connsiteX4" fmla="*/ 0 w 4060825"/>
              <a:gd name="connsiteY4" fmla="*/ 1861958 h 6858000"/>
              <a:gd name="connsiteX5" fmla="*/ 124598 w 4060825"/>
              <a:gd name="connsiteY5" fmla="*/ 1737360 h 6858000"/>
              <a:gd name="connsiteX6" fmla="*/ 0 w 4060825"/>
              <a:gd name="connsiteY6" fmla="*/ 16127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0825" h="6858000">
                <a:moveTo>
                  <a:pt x="0" y="0"/>
                </a:moveTo>
                <a:lnTo>
                  <a:pt x="4060825" y="0"/>
                </a:lnTo>
                <a:lnTo>
                  <a:pt x="4060825" y="6858000"/>
                </a:lnTo>
                <a:lnTo>
                  <a:pt x="0" y="6858000"/>
                </a:lnTo>
                <a:lnTo>
                  <a:pt x="0" y="1861958"/>
                </a:lnTo>
                <a:lnTo>
                  <a:pt x="124598" y="1737360"/>
                </a:lnTo>
                <a:lnTo>
                  <a:pt x="0" y="1612762"/>
                </a:lnTo>
                <a:close/>
              </a:path>
            </a:pathLst>
          </a:custGeom>
          <a:solidFill>
            <a:srgbClr val="F0F0F0"/>
          </a:solidFill>
        </p:spPr>
        <p:txBody>
          <a:bodyPr wrap="square">
            <a:noAutofit/>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Tree>
    <p:extLst>
      <p:ext uri="{BB962C8B-B14F-4D97-AF65-F5344CB8AC3E}">
        <p14:creationId xmlns:p14="http://schemas.microsoft.com/office/powerpoint/2010/main" val="1730191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870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ntent +  im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2995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71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dirty="0"/>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dirty="0"/>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smtClean="0"/>
              <a:t>Edit Master text styles</a:t>
            </a:r>
          </a:p>
          <a:p>
            <a:pPr lvl="1"/>
            <a:r>
              <a:rPr lang="en-US" smtClean="0"/>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736"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8128001" y="119959"/>
            <a:ext cx="3940174" cy="6618082"/>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867114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76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0" y="358775"/>
            <a:ext cx="776287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78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776287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185678" y="358775"/>
            <a:ext cx="3882498"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hasCustomPrompt="1"/>
          </p:nvPr>
        </p:nvSpPr>
        <p:spPr>
          <a:xfrm>
            <a:off x="4305300" y="358775"/>
            <a:ext cx="3742665"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448"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808"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hasCustomPrompt="1"/>
          </p:nvPr>
        </p:nvSpPr>
        <p:spPr>
          <a:xfrm>
            <a:off x="4305300" y="358775"/>
            <a:ext cx="3822700"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hasCustomPrompt="1"/>
          </p:nvPr>
        </p:nvSpPr>
        <p:spPr>
          <a:xfrm>
            <a:off x="123826" y="3493742"/>
            <a:ext cx="4104142"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3019424"/>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3" y="358774"/>
            <a:ext cx="3546537"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811323"/>
            <a:ext cx="3657599" cy="256407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832"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hasCustomPrompt="1"/>
          </p:nvPr>
        </p:nvSpPr>
        <p:spPr>
          <a:xfrm>
            <a:off x="4305301" y="358775"/>
            <a:ext cx="3785416"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hasCustomPrompt="1"/>
          </p:nvPr>
        </p:nvSpPr>
        <p:spPr>
          <a:xfrm>
            <a:off x="4305300" y="3493742"/>
            <a:ext cx="3785415"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hasCustomPrompt="1"/>
          </p:nvPr>
        </p:nvSpPr>
        <p:spPr>
          <a:xfrm>
            <a:off x="8226964" y="358775"/>
            <a:ext cx="3841211" cy="3009900"/>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hasCustomPrompt="1"/>
          </p:nvPr>
        </p:nvSpPr>
        <p:spPr>
          <a:xfrm>
            <a:off x="8226964" y="3493742"/>
            <a:ext cx="3841211" cy="2881658"/>
          </a:xfrm>
          <a:solidFill>
            <a:srgbClr val="F0F0F0"/>
          </a:solidFill>
        </p:spPr>
        <p:txBody>
          <a:bodyPr/>
          <a:lstStyle>
            <a:lvl1pPr>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dirty="0"/>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724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217775"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3043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box">
    <p:bg>
      <p:bgPr>
        <a:solidFill>
          <a:schemeClr val="tx2"/>
        </a:solidFill>
        <a:effectLst/>
      </p:bgPr>
    </p:bg>
    <p:spTree>
      <p:nvGrpSpPr>
        <p:cNvPr id="1" name=""/>
        <p:cNvGrpSpPr/>
        <p:nvPr/>
      </p:nvGrpSpPr>
      <p:grpSpPr>
        <a:xfrm>
          <a:off x="0" y="0"/>
          <a:ext cx="0" cy="0"/>
          <a:chOff x="0" y="0"/>
          <a:chExt cx="0" cy="0"/>
        </a:xfrm>
      </p:grpSpPr>
      <p:sp>
        <p:nvSpPr>
          <p:cNvPr id="69" name="Rectangle 68"/>
          <p:cNvSpPr/>
          <p:nvPr userDrawn="1"/>
        </p:nvSpPr>
        <p:spPr>
          <a:xfrm>
            <a:off x="355599" y="6121400"/>
            <a:ext cx="2032001" cy="4953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Picture Placeholder 71">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a:t>
            </a:r>
            <a:r>
              <a:rPr lang="en-US" dirty="0"/>
              <a:t>on picture icon to insert picture. Reset </a:t>
            </a:r>
            <a:r>
              <a:rPr lang="en-US" dirty="0" smtClean="0"/>
              <a:t>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baseline="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a:t>Placeholder for a third party or a client logo</a:t>
            </a:r>
            <a:r>
              <a:rPr lang="en-US" dirty="0" smtClean="0"/>
              <a:t>. Click icon to add logo. Use “Crop” feature on “Format” tab to resize or reposition logo once added. </a:t>
            </a:r>
            <a:r>
              <a:rPr lang="en-US" sz="1000" dirty="0" smtClean="0">
                <a:ea typeface="Open Sans" panose="020B0606030504020204" pitchFamily="34" charset="0"/>
                <a:cs typeface="Arial" panose="020B0604020202020204" pitchFamily="34" charset="0"/>
              </a:rPr>
              <a:t>Give the logo equal visual weight as Marsh’s. </a:t>
            </a:r>
            <a:r>
              <a:rPr lang="en-US" dirty="0" smtClean="0"/>
              <a:t>Delete </a:t>
            </a:r>
            <a:r>
              <a:rPr lang="en-US" dirty="0"/>
              <a:t>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540717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670"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bg1"/>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73" name="Graphic 12">
            <a:extLst>
              <a:ext uri="{FF2B5EF4-FFF2-40B4-BE49-F238E27FC236}">
                <a16:creationId xmlns:a16="http://schemas.microsoft.com/office/drawing/2014/main" id="{D426043B-0359-FC46-BCF1-DAFF274E7589}"/>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1887867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A: image light box">
    <p:bg>
      <p:bgPr>
        <a:solidFill>
          <a:schemeClr val="accent3"/>
        </a:solidFill>
        <a:effectLst/>
      </p:bgPr>
    </p:bg>
    <p:spTree>
      <p:nvGrpSpPr>
        <p:cNvPr id="1" name=""/>
        <p:cNvGrpSpPr/>
        <p:nvPr/>
      </p:nvGrpSpPr>
      <p:grpSpPr>
        <a:xfrm>
          <a:off x="0" y="0"/>
          <a:ext cx="0" cy="0"/>
          <a:chOff x="0" y="0"/>
          <a:chExt cx="0" cy="0"/>
        </a:xfrm>
      </p:grpSpPr>
      <p:sp>
        <p:nvSpPr>
          <p:cNvPr id="17" name="Rectangle 16"/>
          <p:cNvSpPr/>
          <p:nvPr userDrawn="1"/>
        </p:nvSpPr>
        <p:spPr>
          <a:xfrm>
            <a:off x="355599" y="6121400"/>
            <a:ext cx="2032001" cy="495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Picture Placeholder 17">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1" y="-1"/>
            <a:ext cx="12191999" cy="6858001"/>
          </a:xfrm>
          <a:custGeom>
            <a:avLst/>
            <a:gdLst>
              <a:gd name="connsiteX0" fmla="*/ 2154182 w 12191999"/>
              <a:gd name="connsiteY0" fmla="*/ 6348735 h 6858001"/>
              <a:gd name="connsiteX1" fmla="*/ 2154182 w 12191999"/>
              <a:gd name="connsiteY1" fmla="*/ 6352726 h 6858001"/>
              <a:gd name="connsiteX2" fmla="*/ 2152428 w 12191999"/>
              <a:gd name="connsiteY2" fmla="*/ 6363609 h 6858001"/>
              <a:gd name="connsiteX3" fmla="*/ 2145233 w 12191999"/>
              <a:gd name="connsiteY3" fmla="*/ 6371136 h 6858001"/>
              <a:gd name="connsiteX4" fmla="*/ 2134048 w 12191999"/>
              <a:gd name="connsiteY4" fmla="*/ 6373887 h 6858001"/>
              <a:gd name="connsiteX5" fmla="*/ 2124404 w 12191999"/>
              <a:gd name="connsiteY5" fmla="*/ 6370985 h 6858001"/>
              <a:gd name="connsiteX6" fmla="*/ 2121109 w 12191999"/>
              <a:gd name="connsiteY6" fmla="*/ 6363730 h 6858001"/>
              <a:gd name="connsiteX7" fmla="*/ 2122621 w 12191999"/>
              <a:gd name="connsiteY7" fmla="*/ 6358560 h 6858001"/>
              <a:gd name="connsiteX8" fmla="*/ 2126913 w 12191999"/>
              <a:gd name="connsiteY8" fmla="*/ 6355023 h 6858001"/>
              <a:gd name="connsiteX9" fmla="*/ 2136406 w 12191999"/>
              <a:gd name="connsiteY9" fmla="*/ 6352847 h 6858001"/>
              <a:gd name="connsiteX10" fmla="*/ 2154182 w 12191999"/>
              <a:gd name="connsiteY10" fmla="*/ 6348735 h 6858001"/>
              <a:gd name="connsiteX11" fmla="*/ 1430281 w 12191999"/>
              <a:gd name="connsiteY11" fmla="*/ 6348735 h 6858001"/>
              <a:gd name="connsiteX12" fmla="*/ 1430281 w 12191999"/>
              <a:gd name="connsiteY12" fmla="*/ 6352726 h 6858001"/>
              <a:gd name="connsiteX13" fmla="*/ 1428528 w 12191999"/>
              <a:gd name="connsiteY13" fmla="*/ 6363609 h 6858001"/>
              <a:gd name="connsiteX14" fmla="*/ 1421333 w 12191999"/>
              <a:gd name="connsiteY14" fmla="*/ 6371136 h 6858001"/>
              <a:gd name="connsiteX15" fmla="*/ 1410148 w 12191999"/>
              <a:gd name="connsiteY15" fmla="*/ 6373887 h 6858001"/>
              <a:gd name="connsiteX16" fmla="*/ 1400504 w 12191999"/>
              <a:gd name="connsiteY16" fmla="*/ 6370985 h 6858001"/>
              <a:gd name="connsiteX17" fmla="*/ 1397209 w 12191999"/>
              <a:gd name="connsiteY17" fmla="*/ 6363730 h 6858001"/>
              <a:gd name="connsiteX18" fmla="*/ 1398721 w 12191999"/>
              <a:gd name="connsiteY18" fmla="*/ 6358560 h 6858001"/>
              <a:gd name="connsiteX19" fmla="*/ 1403013 w 12191999"/>
              <a:gd name="connsiteY19" fmla="*/ 6355023 h 6858001"/>
              <a:gd name="connsiteX20" fmla="*/ 1412506 w 12191999"/>
              <a:gd name="connsiteY20" fmla="*/ 6352847 h 6858001"/>
              <a:gd name="connsiteX21" fmla="*/ 1430281 w 12191999"/>
              <a:gd name="connsiteY21" fmla="*/ 6348735 h 6858001"/>
              <a:gd name="connsiteX22" fmla="*/ 1167698 w 12191999"/>
              <a:gd name="connsiteY22" fmla="*/ 6324309 h 6858001"/>
              <a:gd name="connsiteX23" fmla="*/ 1181150 w 12191999"/>
              <a:gd name="connsiteY23" fmla="*/ 6330446 h 6858001"/>
              <a:gd name="connsiteX24" fmla="*/ 1186561 w 12191999"/>
              <a:gd name="connsiteY24" fmla="*/ 6348493 h 6858001"/>
              <a:gd name="connsiteX25" fmla="*/ 1181180 w 12191999"/>
              <a:gd name="connsiteY25" fmla="*/ 6367297 h 6858001"/>
              <a:gd name="connsiteX26" fmla="*/ 1167698 w 12191999"/>
              <a:gd name="connsiteY26" fmla="*/ 6373464 h 6858001"/>
              <a:gd name="connsiteX27" fmla="*/ 1154154 w 12191999"/>
              <a:gd name="connsiteY27" fmla="*/ 6367327 h 6858001"/>
              <a:gd name="connsiteX28" fmla="*/ 1148773 w 12191999"/>
              <a:gd name="connsiteY28" fmla="*/ 6348856 h 6858001"/>
              <a:gd name="connsiteX29" fmla="*/ 1154154 w 12191999"/>
              <a:gd name="connsiteY29" fmla="*/ 6330415 h 6858001"/>
              <a:gd name="connsiteX30" fmla="*/ 1167698 w 12191999"/>
              <a:gd name="connsiteY30" fmla="*/ 6324309 h 6858001"/>
              <a:gd name="connsiteX31" fmla="*/ 1939646 w 12191999"/>
              <a:gd name="connsiteY31" fmla="*/ 6324248 h 6858001"/>
              <a:gd name="connsiteX32" fmla="*/ 1953129 w 12191999"/>
              <a:gd name="connsiteY32" fmla="*/ 6330536 h 6858001"/>
              <a:gd name="connsiteX33" fmla="*/ 1957240 w 12191999"/>
              <a:gd name="connsiteY33" fmla="*/ 6342689 h 6858001"/>
              <a:gd name="connsiteX34" fmla="*/ 1921387 w 12191999"/>
              <a:gd name="connsiteY34" fmla="*/ 6342689 h 6858001"/>
              <a:gd name="connsiteX35" fmla="*/ 1927040 w 12191999"/>
              <a:gd name="connsiteY35" fmla="*/ 6329267 h 6858001"/>
              <a:gd name="connsiteX36" fmla="*/ 1939646 w 12191999"/>
              <a:gd name="connsiteY36" fmla="*/ 6324248 h 6858001"/>
              <a:gd name="connsiteX37" fmla="*/ 929996 w 12191999"/>
              <a:gd name="connsiteY37" fmla="*/ 6324248 h 6858001"/>
              <a:gd name="connsiteX38" fmla="*/ 943479 w 12191999"/>
              <a:gd name="connsiteY38" fmla="*/ 6330536 h 6858001"/>
              <a:gd name="connsiteX39" fmla="*/ 947590 w 12191999"/>
              <a:gd name="connsiteY39" fmla="*/ 6342689 h 6858001"/>
              <a:gd name="connsiteX40" fmla="*/ 911736 w 12191999"/>
              <a:gd name="connsiteY40" fmla="*/ 6342689 h 6858001"/>
              <a:gd name="connsiteX41" fmla="*/ 917389 w 12191999"/>
              <a:gd name="connsiteY41" fmla="*/ 6329267 h 6858001"/>
              <a:gd name="connsiteX42" fmla="*/ 929996 w 12191999"/>
              <a:gd name="connsiteY42" fmla="*/ 6324248 h 6858001"/>
              <a:gd name="connsiteX43" fmla="*/ 635688 w 12191999"/>
              <a:gd name="connsiteY43" fmla="*/ 6324248 h 6858001"/>
              <a:gd name="connsiteX44" fmla="*/ 647750 w 12191999"/>
              <a:gd name="connsiteY44" fmla="*/ 6330234 h 6858001"/>
              <a:gd name="connsiteX45" fmla="*/ 652738 w 12191999"/>
              <a:gd name="connsiteY45" fmla="*/ 6348796 h 6858001"/>
              <a:gd name="connsiteX46" fmla="*/ 647538 w 12191999"/>
              <a:gd name="connsiteY46" fmla="*/ 6367267 h 6858001"/>
              <a:gd name="connsiteX47" fmla="*/ 635204 w 12191999"/>
              <a:gd name="connsiteY47" fmla="*/ 6373464 h 6858001"/>
              <a:gd name="connsiteX48" fmla="*/ 621298 w 12191999"/>
              <a:gd name="connsiteY48" fmla="*/ 6365060 h 6858001"/>
              <a:gd name="connsiteX49" fmla="*/ 618154 w 12191999"/>
              <a:gd name="connsiteY49" fmla="*/ 6348373 h 6858001"/>
              <a:gd name="connsiteX50" fmla="*/ 623354 w 12191999"/>
              <a:gd name="connsiteY50" fmla="*/ 6330446 h 6858001"/>
              <a:gd name="connsiteX51" fmla="*/ 635688 w 12191999"/>
              <a:gd name="connsiteY51" fmla="*/ 6324248 h 6858001"/>
              <a:gd name="connsiteX52" fmla="*/ 808324 w 12191999"/>
              <a:gd name="connsiteY52" fmla="*/ 6316751 h 6858001"/>
              <a:gd name="connsiteX53" fmla="*/ 808324 w 12191999"/>
              <a:gd name="connsiteY53" fmla="*/ 6380961 h 6858001"/>
              <a:gd name="connsiteX54" fmla="*/ 819207 w 12191999"/>
              <a:gd name="connsiteY54" fmla="*/ 6380961 h 6858001"/>
              <a:gd name="connsiteX55" fmla="*/ 819207 w 12191999"/>
              <a:gd name="connsiteY55" fmla="*/ 6316751 h 6858001"/>
              <a:gd name="connsiteX56" fmla="*/ 674672 w 12191999"/>
              <a:gd name="connsiteY56" fmla="*/ 6316751 h 6858001"/>
              <a:gd name="connsiteX57" fmla="*/ 674672 w 12191999"/>
              <a:gd name="connsiteY57" fmla="*/ 6356535 h 6858001"/>
              <a:gd name="connsiteX58" fmla="*/ 675337 w 12191999"/>
              <a:gd name="connsiteY58" fmla="*/ 6366692 h 6858001"/>
              <a:gd name="connsiteX59" fmla="*/ 678692 w 12191999"/>
              <a:gd name="connsiteY59" fmla="*/ 6374764 h 6858001"/>
              <a:gd name="connsiteX60" fmla="*/ 686008 w 12191999"/>
              <a:gd name="connsiteY60" fmla="*/ 6380236 h 6858001"/>
              <a:gd name="connsiteX61" fmla="*/ 696619 w 12191999"/>
              <a:gd name="connsiteY61" fmla="*/ 6382412 h 6858001"/>
              <a:gd name="connsiteX62" fmla="*/ 716995 w 12191999"/>
              <a:gd name="connsiteY62" fmla="*/ 6371529 h 6858001"/>
              <a:gd name="connsiteX63" fmla="*/ 716995 w 12191999"/>
              <a:gd name="connsiteY63" fmla="*/ 6380961 h 6858001"/>
              <a:gd name="connsiteX64" fmla="*/ 726729 w 12191999"/>
              <a:gd name="connsiteY64" fmla="*/ 6380961 h 6858001"/>
              <a:gd name="connsiteX65" fmla="*/ 726729 w 12191999"/>
              <a:gd name="connsiteY65" fmla="*/ 6316751 h 6858001"/>
              <a:gd name="connsiteX66" fmla="*/ 715846 w 12191999"/>
              <a:gd name="connsiteY66" fmla="*/ 6316751 h 6858001"/>
              <a:gd name="connsiteX67" fmla="*/ 715846 w 12191999"/>
              <a:gd name="connsiteY67" fmla="*/ 6351154 h 6858001"/>
              <a:gd name="connsiteX68" fmla="*/ 714062 w 12191999"/>
              <a:gd name="connsiteY68" fmla="*/ 6363700 h 6858001"/>
              <a:gd name="connsiteX69" fmla="*/ 707986 w 12191999"/>
              <a:gd name="connsiteY69" fmla="*/ 6370532 h 6858001"/>
              <a:gd name="connsiteX70" fmla="*/ 698796 w 12191999"/>
              <a:gd name="connsiteY70" fmla="*/ 6373041 h 6858001"/>
              <a:gd name="connsiteX71" fmla="*/ 690573 w 12191999"/>
              <a:gd name="connsiteY71" fmla="*/ 6370592 h 6858001"/>
              <a:gd name="connsiteX72" fmla="*/ 686220 w 12191999"/>
              <a:gd name="connsiteY72" fmla="*/ 6363851 h 6858001"/>
              <a:gd name="connsiteX73" fmla="*/ 685555 w 12191999"/>
              <a:gd name="connsiteY73" fmla="*/ 6352363 h 6858001"/>
              <a:gd name="connsiteX74" fmla="*/ 685555 w 12191999"/>
              <a:gd name="connsiteY74" fmla="*/ 6316751 h 6858001"/>
              <a:gd name="connsiteX75" fmla="*/ 2210094 w 12191999"/>
              <a:gd name="connsiteY75" fmla="*/ 6315300 h 6858001"/>
              <a:gd name="connsiteX76" fmla="*/ 2189659 w 12191999"/>
              <a:gd name="connsiteY76" fmla="*/ 6325881 h 6858001"/>
              <a:gd name="connsiteX77" fmla="*/ 2189659 w 12191999"/>
              <a:gd name="connsiteY77" fmla="*/ 6316751 h 6858001"/>
              <a:gd name="connsiteX78" fmla="*/ 2179864 w 12191999"/>
              <a:gd name="connsiteY78" fmla="*/ 6316751 h 6858001"/>
              <a:gd name="connsiteX79" fmla="*/ 2179864 w 12191999"/>
              <a:gd name="connsiteY79" fmla="*/ 6380961 h 6858001"/>
              <a:gd name="connsiteX80" fmla="*/ 2190747 w 12191999"/>
              <a:gd name="connsiteY80" fmla="*/ 6380961 h 6858001"/>
              <a:gd name="connsiteX81" fmla="*/ 2190747 w 12191999"/>
              <a:gd name="connsiteY81" fmla="*/ 6345894 h 6858001"/>
              <a:gd name="connsiteX82" fmla="*/ 2195795 w 12191999"/>
              <a:gd name="connsiteY82" fmla="*/ 6329146 h 6858001"/>
              <a:gd name="connsiteX83" fmla="*/ 2207797 w 12191999"/>
              <a:gd name="connsiteY83" fmla="*/ 6324732 h 6858001"/>
              <a:gd name="connsiteX84" fmla="*/ 2215385 w 12191999"/>
              <a:gd name="connsiteY84" fmla="*/ 6326697 h 6858001"/>
              <a:gd name="connsiteX85" fmla="*/ 2219889 w 12191999"/>
              <a:gd name="connsiteY85" fmla="*/ 6331957 h 6858001"/>
              <a:gd name="connsiteX86" fmla="*/ 2221159 w 12191999"/>
              <a:gd name="connsiteY86" fmla="*/ 6341903 h 6858001"/>
              <a:gd name="connsiteX87" fmla="*/ 2221159 w 12191999"/>
              <a:gd name="connsiteY87" fmla="*/ 6380961 h 6858001"/>
              <a:gd name="connsiteX88" fmla="*/ 2232042 w 12191999"/>
              <a:gd name="connsiteY88" fmla="*/ 6380961 h 6858001"/>
              <a:gd name="connsiteX89" fmla="*/ 2232042 w 12191999"/>
              <a:gd name="connsiteY89" fmla="*/ 6341480 h 6858001"/>
              <a:gd name="connsiteX90" fmla="*/ 2231437 w 12191999"/>
              <a:gd name="connsiteY90" fmla="*/ 6330899 h 6858001"/>
              <a:gd name="connsiteX91" fmla="*/ 2228052 w 12191999"/>
              <a:gd name="connsiteY91" fmla="*/ 6322858 h 6858001"/>
              <a:gd name="connsiteX92" fmla="*/ 2220766 w 12191999"/>
              <a:gd name="connsiteY92" fmla="*/ 6317386 h 6858001"/>
              <a:gd name="connsiteX93" fmla="*/ 2210094 w 12191999"/>
              <a:gd name="connsiteY93" fmla="*/ 6315300 h 6858001"/>
              <a:gd name="connsiteX94" fmla="*/ 2140336 w 12191999"/>
              <a:gd name="connsiteY94" fmla="*/ 6315300 h 6858001"/>
              <a:gd name="connsiteX95" fmla="*/ 2125765 w 12191999"/>
              <a:gd name="connsiteY95" fmla="*/ 6317567 h 6858001"/>
              <a:gd name="connsiteX96" fmla="*/ 2116151 w 12191999"/>
              <a:gd name="connsiteY96" fmla="*/ 6324037 h 6858001"/>
              <a:gd name="connsiteX97" fmla="*/ 2111375 w 12191999"/>
              <a:gd name="connsiteY97" fmla="*/ 6335071 h 6858001"/>
              <a:gd name="connsiteX98" fmla="*/ 2122016 w 12191999"/>
              <a:gd name="connsiteY98" fmla="*/ 6336522 h 6858001"/>
              <a:gd name="connsiteX99" fmla="*/ 2127427 w 12191999"/>
              <a:gd name="connsiteY99" fmla="*/ 6326999 h 6858001"/>
              <a:gd name="connsiteX100" fmla="*/ 2138764 w 12191999"/>
              <a:gd name="connsiteY100" fmla="*/ 6324309 h 6858001"/>
              <a:gd name="connsiteX101" fmla="*/ 2151159 w 12191999"/>
              <a:gd name="connsiteY101" fmla="*/ 6327997 h 6858001"/>
              <a:gd name="connsiteX102" fmla="*/ 2154242 w 12191999"/>
              <a:gd name="connsiteY102" fmla="*/ 6337369 h 6858001"/>
              <a:gd name="connsiteX103" fmla="*/ 2154182 w 12191999"/>
              <a:gd name="connsiteY103" fmla="*/ 6340210 h 6858001"/>
              <a:gd name="connsiteX104" fmla="*/ 2134773 w 12191999"/>
              <a:gd name="connsiteY104" fmla="*/ 6343959 h 6858001"/>
              <a:gd name="connsiteX105" fmla="*/ 2125100 w 12191999"/>
              <a:gd name="connsiteY105" fmla="*/ 6345591 h 6858001"/>
              <a:gd name="connsiteX106" fmla="*/ 2117270 w 12191999"/>
              <a:gd name="connsiteY106" fmla="*/ 6349159 h 6858001"/>
              <a:gd name="connsiteX107" fmla="*/ 2111647 w 12191999"/>
              <a:gd name="connsiteY107" fmla="*/ 6355416 h 6858001"/>
              <a:gd name="connsiteX108" fmla="*/ 2109500 w 12191999"/>
              <a:gd name="connsiteY108" fmla="*/ 6364032 h 6858001"/>
              <a:gd name="connsiteX109" fmla="*/ 2115184 w 12191999"/>
              <a:gd name="connsiteY109" fmla="*/ 6377243 h 6858001"/>
              <a:gd name="connsiteX110" fmla="*/ 2131448 w 12191999"/>
              <a:gd name="connsiteY110" fmla="*/ 6382412 h 6858001"/>
              <a:gd name="connsiteX111" fmla="*/ 2143450 w 12191999"/>
              <a:gd name="connsiteY111" fmla="*/ 6380296 h 6858001"/>
              <a:gd name="connsiteX112" fmla="*/ 2155089 w 12191999"/>
              <a:gd name="connsiteY112" fmla="*/ 6373041 h 6858001"/>
              <a:gd name="connsiteX113" fmla="*/ 2157265 w 12191999"/>
              <a:gd name="connsiteY113" fmla="*/ 6380961 h 6858001"/>
              <a:gd name="connsiteX114" fmla="*/ 2168632 w 12191999"/>
              <a:gd name="connsiteY114" fmla="*/ 6380961 h 6858001"/>
              <a:gd name="connsiteX115" fmla="*/ 2165881 w 12191999"/>
              <a:gd name="connsiteY115" fmla="*/ 6373252 h 6858001"/>
              <a:gd name="connsiteX116" fmla="*/ 2165185 w 12191999"/>
              <a:gd name="connsiteY116" fmla="*/ 6354056 h 6858001"/>
              <a:gd name="connsiteX117" fmla="*/ 2165185 w 12191999"/>
              <a:gd name="connsiteY117" fmla="*/ 6339545 h 6858001"/>
              <a:gd name="connsiteX118" fmla="*/ 2164641 w 12191999"/>
              <a:gd name="connsiteY118" fmla="*/ 6329509 h 6858001"/>
              <a:gd name="connsiteX119" fmla="*/ 2161255 w 12191999"/>
              <a:gd name="connsiteY119" fmla="*/ 6322102 h 6858001"/>
              <a:gd name="connsiteX120" fmla="*/ 2153698 w 12191999"/>
              <a:gd name="connsiteY120" fmla="*/ 6317235 h 6858001"/>
              <a:gd name="connsiteX121" fmla="*/ 2140336 w 12191999"/>
              <a:gd name="connsiteY121" fmla="*/ 6315300 h 6858001"/>
              <a:gd name="connsiteX122" fmla="*/ 2076744 w 12191999"/>
              <a:gd name="connsiteY122" fmla="*/ 6315300 h 6858001"/>
              <a:gd name="connsiteX123" fmla="*/ 2056309 w 12191999"/>
              <a:gd name="connsiteY123" fmla="*/ 6325881 h 6858001"/>
              <a:gd name="connsiteX124" fmla="*/ 2056309 w 12191999"/>
              <a:gd name="connsiteY124" fmla="*/ 6316751 h 6858001"/>
              <a:gd name="connsiteX125" fmla="*/ 2046514 w 12191999"/>
              <a:gd name="connsiteY125" fmla="*/ 6316751 h 6858001"/>
              <a:gd name="connsiteX126" fmla="*/ 2046514 w 12191999"/>
              <a:gd name="connsiteY126" fmla="*/ 6380961 h 6858001"/>
              <a:gd name="connsiteX127" fmla="*/ 2057397 w 12191999"/>
              <a:gd name="connsiteY127" fmla="*/ 6380961 h 6858001"/>
              <a:gd name="connsiteX128" fmla="*/ 2057397 w 12191999"/>
              <a:gd name="connsiteY128" fmla="*/ 6345894 h 6858001"/>
              <a:gd name="connsiteX129" fmla="*/ 2062445 w 12191999"/>
              <a:gd name="connsiteY129" fmla="*/ 6329146 h 6858001"/>
              <a:gd name="connsiteX130" fmla="*/ 2074447 w 12191999"/>
              <a:gd name="connsiteY130" fmla="*/ 6324732 h 6858001"/>
              <a:gd name="connsiteX131" fmla="*/ 2082035 w 12191999"/>
              <a:gd name="connsiteY131" fmla="*/ 6326697 h 6858001"/>
              <a:gd name="connsiteX132" fmla="*/ 2086539 w 12191999"/>
              <a:gd name="connsiteY132" fmla="*/ 6331957 h 6858001"/>
              <a:gd name="connsiteX133" fmla="*/ 2087809 w 12191999"/>
              <a:gd name="connsiteY133" fmla="*/ 6341903 h 6858001"/>
              <a:gd name="connsiteX134" fmla="*/ 2087809 w 12191999"/>
              <a:gd name="connsiteY134" fmla="*/ 6380961 h 6858001"/>
              <a:gd name="connsiteX135" fmla="*/ 2098692 w 12191999"/>
              <a:gd name="connsiteY135" fmla="*/ 6380961 h 6858001"/>
              <a:gd name="connsiteX136" fmla="*/ 2098692 w 12191999"/>
              <a:gd name="connsiteY136" fmla="*/ 6341480 h 6858001"/>
              <a:gd name="connsiteX137" fmla="*/ 2098087 w 12191999"/>
              <a:gd name="connsiteY137" fmla="*/ 6330899 h 6858001"/>
              <a:gd name="connsiteX138" fmla="*/ 2094702 w 12191999"/>
              <a:gd name="connsiteY138" fmla="*/ 6322858 h 6858001"/>
              <a:gd name="connsiteX139" fmla="*/ 2087416 w 12191999"/>
              <a:gd name="connsiteY139" fmla="*/ 6317386 h 6858001"/>
              <a:gd name="connsiteX140" fmla="*/ 2076744 w 12191999"/>
              <a:gd name="connsiteY140" fmla="*/ 6315300 h 6858001"/>
              <a:gd name="connsiteX141" fmla="*/ 2010069 w 12191999"/>
              <a:gd name="connsiteY141" fmla="*/ 6315300 h 6858001"/>
              <a:gd name="connsiteX142" fmla="*/ 1989633 w 12191999"/>
              <a:gd name="connsiteY142" fmla="*/ 6325881 h 6858001"/>
              <a:gd name="connsiteX143" fmla="*/ 1989633 w 12191999"/>
              <a:gd name="connsiteY143" fmla="*/ 6316751 h 6858001"/>
              <a:gd name="connsiteX144" fmla="*/ 1979839 w 12191999"/>
              <a:gd name="connsiteY144" fmla="*/ 6316751 h 6858001"/>
              <a:gd name="connsiteX145" fmla="*/ 1979839 w 12191999"/>
              <a:gd name="connsiteY145" fmla="*/ 6380961 h 6858001"/>
              <a:gd name="connsiteX146" fmla="*/ 1990722 w 12191999"/>
              <a:gd name="connsiteY146" fmla="*/ 6380961 h 6858001"/>
              <a:gd name="connsiteX147" fmla="*/ 1990722 w 12191999"/>
              <a:gd name="connsiteY147" fmla="*/ 6345894 h 6858001"/>
              <a:gd name="connsiteX148" fmla="*/ 1995770 w 12191999"/>
              <a:gd name="connsiteY148" fmla="*/ 6329146 h 6858001"/>
              <a:gd name="connsiteX149" fmla="*/ 2007772 w 12191999"/>
              <a:gd name="connsiteY149" fmla="*/ 6324732 h 6858001"/>
              <a:gd name="connsiteX150" fmla="*/ 2015360 w 12191999"/>
              <a:gd name="connsiteY150" fmla="*/ 6326697 h 6858001"/>
              <a:gd name="connsiteX151" fmla="*/ 2019864 w 12191999"/>
              <a:gd name="connsiteY151" fmla="*/ 6331957 h 6858001"/>
              <a:gd name="connsiteX152" fmla="*/ 2021134 w 12191999"/>
              <a:gd name="connsiteY152" fmla="*/ 6341903 h 6858001"/>
              <a:gd name="connsiteX153" fmla="*/ 2021134 w 12191999"/>
              <a:gd name="connsiteY153" fmla="*/ 6380961 h 6858001"/>
              <a:gd name="connsiteX154" fmla="*/ 2032017 w 12191999"/>
              <a:gd name="connsiteY154" fmla="*/ 6380961 h 6858001"/>
              <a:gd name="connsiteX155" fmla="*/ 2032017 w 12191999"/>
              <a:gd name="connsiteY155" fmla="*/ 6341480 h 6858001"/>
              <a:gd name="connsiteX156" fmla="*/ 2031412 w 12191999"/>
              <a:gd name="connsiteY156" fmla="*/ 6330899 h 6858001"/>
              <a:gd name="connsiteX157" fmla="*/ 2028026 w 12191999"/>
              <a:gd name="connsiteY157" fmla="*/ 6322858 h 6858001"/>
              <a:gd name="connsiteX158" fmla="*/ 2020741 w 12191999"/>
              <a:gd name="connsiteY158" fmla="*/ 6317386 h 6858001"/>
              <a:gd name="connsiteX159" fmla="*/ 2010069 w 12191999"/>
              <a:gd name="connsiteY159" fmla="*/ 6315300 h 6858001"/>
              <a:gd name="connsiteX160" fmla="*/ 1939525 w 12191999"/>
              <a:gd name="connsiteY160" fmla="*/ 6315300 h 6858001"/>
              <a:gd name="connsiteX161" fmla="*/ 1917880 w 12191999"/>
              <a:gd name="connsiteY161" fmla="*/ 6324248 h 6858001"/>
              <a:gd name="connsiteX162" fmla="*/ 1909536 w 12191999"/>
              <a:gd name="connsiteY162" fmla="*/ 6349400 h 6858001"/>
              <a:gd name="connsiteX163" fmla="*/ 1917789 w 12191999"/>
              <a:gd name="connsiteY163" fmla="*/ 6373736 h 6858001"/>
              <a:gd name="connsiteX164" fmla="*/ 1940129 w 12191999"/>
              <a:gd name="connsiteY164" fmla="*/ 6382412 h 6858001"/>
              <a:gd name="connsiteX165" fmla="*/ 1958510 w 12191999"/>
              <a:gd name="connsiteY165" fmla="*/ 6376971 h 6858001"/>
              <a:gd name="connsiteX166" fmla="*/ 1968365 w 12191999"/>
              <a:gd name="connsiteY166" fmla="*/ 6361674 h 6858001"/>
              <a:gd name="connsiteX167" fmla="*/ 1957119 w 12191999"/>
              <a:gd name="connsiteY167" fmla="*/ 6360283 h 6858001"/>
              <a:gd name="connsiteX168" fmla="*/ 1950408 w 12191999"/>
              <a:gd name="connsiteY168" fmla="*/ 6370320 h 6858001"/>
              <a:gd name="connsiteX169" fmla="*/ 1940190 w 12191999"/>
              <a:gd name="connsiteY169" fmla="*/ 6373464 h 6858001"/>
              <a:gd name="connsiteX170" fmla="*/ 1926767 w 12191999"/>
              <a:gd name="connsiteY170" fmla="*/ 6367841 h 6858001"/>
              <a:gd name="connsiteX171" fmla="*/ 1920782 w 12191999"/>
              <a:gd name="connsiteY171" fmla="*/ 6351637 h 6858001"/>
              <a:gd name="connsiteX172" fmla="*/ 1968667 w 12191999"/>
              <a:gd name="connsiteY172" fmla="*/ 6351637 h 6858001"/>
              <a:gd name="connsiteX173" fmla="*/ 1968728 w 12191999"/>
              <a:gd name="connsiteY173" fmla="*/ 6348735 h 6858001"/>
              <a:gd name="connsiteX174" fmla="*/ 1960565 w 12191999"/>
              <a:gd name="connsiteY174" fmla="*/ 6324067 h 6858001"/>
              <a:gd name="connsiteX175" fmla="*/ 1939525 w 12191999"/>
              <a:gd name="connsiteY175" fmla="*/ 6315300 h 6858001"/>
              <a:gd name="connsiteX176" fmla="*/ 1805752 w 12191999"/>
              <a:gd name="connsiteY176" fmla="*/ 6315300 h 6858001"/>
              <a:gd name="connsiteX177" fmla="*/ 1790425 w 12191999"/>
              <a:gd name="connsiteY177" fmla="*/ 6319200 h 6858001"/>
              <a:gd name="connsiteX178" fmla="*/ 1779935 w 12191999"/>
              <a:gd name="connsiteY178" fmla="*/ 6330899 h 6858001"/>
              <a:gd name="connsiteX179" fmla="*/ 1776488 w 12191999"/>
              <a:gd name="connsiteY179" fmla="*/ 6349098 h 6858001"/>
              <a:gd name="connsiteX180" fmla="*/ 1784499 w 12191999"/>
              <a:gd name="connsiteY180" fmla="*/ 6373797 h 6858001"/>
              <a:gd name="connsiteX181" fmla="*/ 1805691 w 12191999"/>
              <a:gd name="connsiteY181" fmla="*/ 6382412 h 6858001"/>
              <a:gd name="connsiteX182" fmla="*/ 1823437 w 12191999"/>
              <a:gd name="connsiteY182" fmla="*/ 6376155 h 6858001"/>
              <a:gd name="connsiteX183" fmla="*/ 1832415 w 12191999"/>
              <a:gd name="connsiteY183" fmla="*/ 6358832 h 6858001"/>
              <a:gd name="connsiteX184" fmla="*/ 1821714 w 12191999"/>
              <a:gd name="connsiteY184" fmla="*/ 6357442 h 6858001"/>
              <a:gd name="connsiteX185" fmla="*/ 1816272 w 12191999"/>
              <a:gd name="connsiteY185" fmla="*/ 6369534 h 6858001"/>
              <a:gd name="connsiteX186" fmla="*/ 1805570 w 12191999"/>
              <a:gd name="connsiteY186" fmla="*/ 6373464 h 6858001"/>
              <a:gd name="connsiteX187" fmla="*/ 1792632 w 12191999"/>
              <a:gd name="connsiteY187" fmla="*/ 6367599 h 6858001"/>
              <a:gd name="connsiteX188" fmla="*/ 1787674 w 12191999"/>
              <a:gd name="connsiteY188" fmla="*/ 6348796 h 6858001"/>
              <a:gd name="connsiteX189" fmla="*/ 1792813 w 12191999"/>
              <a:gd name="connsiteY189" fmla="*/ 6330143 h 6858001"/>
              <a:gd name="connsiteX190" fmla="*/ 1806175 w 12191999"/>
              <a:gd name="connsiteY190" fmla="*/ 6324248 h 6858001"/>
              <a:gd name="connsiteX191" fmla="*/ 1815456 w 12191999"/>
              <a:gd name="connsiteY191" fmla="*/ 6327513 h 6858001"/>
              <a:gd name="connsiteX192" fmla="*/ 1820806 w 12191999"/>
              <a:gd name="connsiteY192" fmla="*/ 6337248 h 6858001"/>
              <a:gd name="connsiteX193" fmla="*/ 1831387 w 12191999"/>
              <a:gd name="connsiteY193" fmla="*/ 6335615 h 6858001"/>
              <a:gd name="connsiteX194" fmla="*/ 1822862 w 12191999"/>
              <a:gd name="connsiteY194" fmla="*/ 6320591 h 6858001"/>
              <a:gd name="connsiteX195" fmla="*/ 1805752 w 12191999"/>
              <a:gd name="connsiteY195" fmla="*/ 6315300 h 6858001"/>
              <a:gd name="connsiteX196" fmla="*/ 1515165 w 12191999"/>
              <a:gd name="connsiteY196" fmla="*/ 6315300 h 6858001"/>
              <a:gd name="connsiteX197" fmla="*/ 1505763 w 12191999"/>
              <a:gd name="connsiteY197" fmla="*/ 6316600 h 6858001"/>
              <a:gd name="connsiteX198" fmla="*/ 1498840 w 12191999"/>
              <a:gd name="connsiteY198" fmla="*/ 6319774 h 6858001"/>
              <a:gd name="connsiteX199" fmla="*/ 1493489 w 12191999"/>
              <a:gd name="connsiteY199" fmla="*/ 6325851 h 6858001"/>
              <a:gd name="connsiteX200" fmla="*/ 1491524 w 12191999"/>
              <a:gd name="connsiteY200" fmla="*/ 6333801 h 6858001"/>
              <a:gd name="connsiteX201" fmla="*/ 1493913 w 12191999"/>
              <a:gd name="connsiteY201" fmla="*/ 6342417 h 6858001"/>
              <a:gd name="connsiteX202" fmla="*/ 1500926 w 12191999"/>
              <a:gd name="connsiteY202" fmla="*/ 6348524 h 6858001"/>
              <a:gd name="connsiteX203" fmla="*/ 1517523 w 12191999"/>
              <a:gd name="connsiteY203" fmla="*/ 6353754 h 6858001"/>
              <a:gd name="connsiteX204" fmla="*/ 1528648 w 12191999"/>
              <a:gd name="connsiteY204" fmla="*/ 6357442 h 6858001"/>
              <a:gd name="connsiteX205" fmla="*/ 1531852 w 12191999"/>
              <a:gd name="connsiteY205" fmla="*/ 6363246 h 6858001"/>
              <a:gd name="connsiteX206" fmla="*/ 1528224 w 12191999"/>
              <a:gd name="connsiteY206" fmla="*/ 6370411 h 6858001"/>
              <a:gd name="connsiteX207" fmla="*/ 1517100 w 12191999"/>
              <a:gd name="connsiteY207" fmla="*/ 6373464 h 6858001"/>
              <a:gd name="connsiteX208" fmla="*/ 1505521 w 12191999"/>
              <a:gd name="connsiteY208" fmla="*/ 6370018 h 6858001"/>
              <a:gd name="connsiteX209" fmla="*/ 1500472 w 12191999"/>
              <a:gd name="connsiteY209" fmla="*/ 6360102 h 6858001"/>
              <a:gd name="connsiteX210" fmla="*/ 1489710 w 12191999"/>
              <a:gd name="connsiteY210" fmla="*/ 6361795 h 6858001"/>
              <a:gd name="connsiteX211" fmla="*/ 1498084 w 12191999"/>
              <a:gd name="connsiteY211" fmla="*/ 6377213 h 6858001"/>
              <a:gd name="connsiteX212" fmla="*/ 1517160 w 12191999"/>
              <a:gd name="connsiteY212" fmla="*/ 6382412 h 6858001"/>
              <a:gd name="connsiteX213" fmla="*/ 1530703 w 12191999"/>
              <a:gd name="connsiteY213" fmla="*/ 6379782 h 6858001"/>
              <a:gd name="connsiteX214" fmla="*/ 1539863 w 12191999"/>
              <a:gd name="connsiteY214" fmla="*/ 6372345 h 6858001"/>
              <a:gd name="connsiteX215" fmla="*/ 1543037 w 12191999"/>
              <a:gd name="connsiteY215" fmla="*/ 6362097 h 6858001"/>
              <a:gd name="connsiteX216" fmla="*/ 1540437 w 12191999"/>
              <a:gd name="connsiteY216" fmla="*/ 6352786 h 6858001"/>
              <a:gd name="connsiteX217" fmla="*/ 1533273 w 12191999"/>
              <a:gd name="connsiteY217" fmla="*/ 6347073 h 6858001"/>
              <a:gd name="connsiteX218" fmla="*/ 1517160 w 12191999"/>
              <a:gd name="connsiteY218" fmla="*/ 6342024 h 6858001"/>
              <a:gd name="connsiteX219" fmla="*/ 1507547 w 12191999"/>
              <a:gd name="connsiteY219" fmla="*/ 6339243 h 6858001"/>
              <a:gd name="connsiteX220" fmla="*/ 1503375 w 12191999"/>
              <a:gd name="connsiteY220" fmla="*/ 6336341 h 6858001"/>
              <a:gd name="connsiteX221" fmla="*/ 1502044 w 12191999"/>
              <a:gd name="connsiteY221" fmla="*/ 6332532 h 6858001"/>
              <a:gd name="connsiteX222" fmla="*/ 1505249 w 12191999"/>
              <a:gd name="connsiteY222" fmla="*/ 6326727 h 6858001"/>
              <a:gd name="connsiteX223" fmla="*/ 1515951 w 12191999"/>
              <a:gd name="connsiteY223" fmla="*/ 6324248 h 6858001"/>
              <a:gd name="connsiteX224" fmla="*/ 1525776 w 12191999"/>
              <a:gd name="connsiteY224" fmla="*/ 6327030 h 6858001"/>
              <a:gd name="connsiteX225" fmla="*/ 1529978 w 12191999"/>
              <a:gd name="connsiteY225" fmla="*/ 6334769 h 6858001"/>
              <a:gd name="connsiteX226" fmla="*/ 1540619 w 12191999"/>
              <a:gd name="connsiteY226" fmla="*/ 6333318 h 6858001"/>
              <a:gd name="connsiteX227" fmla="*/ 1536870 w 12191999"/>
              <a:gd name="connsiteY227" fmla="*/ 6323372 h 6858001"/>
              <a:gd name="connsiteX228" fmla="*/ 1528436 w 12191999"/>
              <a:gd name="connsiteY228" fmla="*/ 6317477 h 6858001"/>
              <a:gd name="connsiteX229" fmla="*/ 1515165 w 12191999"/>
              <a:gd name="connsiteY229" fmla="*/ 6315300 h 6858001"/>
              <a:gd name="connsiteX230" fmla="*/ 1479544 w 12191999"/>
              <a:gd name="connsiteY230" fmla="*/ 6315300 h 6858001"/>
              <a:gd name="connsiteX231" fmla="*/ 1472560 w 12191999"/>
              <a:gd name="connsiteY231" fmla="*/ 6317477 h 6858001"/>
              <a:gd name="connsiteX232" fmla="*/ 1465638 w 12191999"/>
              <a:gd name="connsiteY232" fmla="*/ 6326486 h 6858001"/>
              <a:gd name="connsiteX233" fmla="*/ 1465638 w 12191999"/>
              <a:gd name="connsiteY233" fmla="*/ 6316751 h 6858001"/>
              <a:gd name="connsiteX234" fmla="*/ 1455843 w 12191999"/>
              <a:gd name="connsiteY234" fmla="*/ 6316751 h 6858001"/>
              <a:gd name="connsiteX235" fmla="*/ 1455843 w 12191999"/>
              <a:gd name="connsiteY235" fmla="*/ 6380961 h 6858001"/>
              <a:gd name="connsiteX236" fmla="*/ 1466726 w 12191999"/>
              <a:gd name="connsiteY236" fmla="*/ 6380961 h 6858001"/>
              <a:gd name="connsiteX237" fmla="*/ 1466726 w 12191999"/>
              <a:gd name="connsiteY237" fmla="*/ 6347345 h 6858001"/>
              <a:gd name="connsiteX238" fmla="*/ 1468540 w 12191999"/>
              <a:gd name="connsiteY238" fmla="*/ 6334648 h 6858001"/>
              <a:gd name="connsiteX239" fmla="*/ 1472590 w 12191999"/>
              <a:gd name="connsiteY239" fmla="*/ 6328692 h 6858001"/>
              <a:gd name="connsiteX240" fmla="*/ 1479000 w 12191999"/>
              <a:gd name="connsiteY240" fmla="*/ 6326546 h 6858001"/>
              <a:gd name="connsiteX241" fmla="*/ 1486980 w 12191999"/>
              <a:gd name="connsiteY241" fmla="*/ 6328904 h 6858001"/>
              <a:gd name="connsiteX242" fmla="*/ 1490729 w 12191999"/>
              <a:gd name="connsiteY242" fmla="*/ 6318807 h 6858001"/>
              <a:gd name="connsiteX243" fmla="*/ 1479544 w 12191999"/>
              <a:gd name="connsiteY243" fmla="*/ 6315300 h 6858001"/>
              <a:gd name="connsiteX244" fmla="*/ 1416436 w 12191999"/>
              <a:gd name="connsiteY244" fmla="*/ 6315300 h 6858001"/>
              <a:gd name="connsiteX245" fmla="*/ 1401865 w 12191999"/>
              <a:gd name="connsiteY245" fmla="*/ 6317567 h 6858001"/>
              <a:gd name="connsiteX246" fmla="*/ 1392251 w 12191999"/>
              <a:gd name="connsiteY246" fmla="*/ 6324037 h 6858001"/>
              <a:gd name="connsiteX247" fmla="*/ 1387475 w 12191999"/>
              <a:gd name="connsiteY247" fmla="*/ 6335071 h 6858001"/>
              <a:gd name="connsiteX248" fmla="*/ 1398116 w 12191999"/>
              <a:gd name="connsiteY248" fmla="*/ 6336522 h 6858001"/>
              <a:gd name="connsiteX249" fmla="*/ 1403527 w 12191999"/>
              <a:gd name="connsiteY249" fmla="*/ 6326999 h 6858001"/>
              <a:gd name="connsiteX250" fmla="*/ 1414864 w 12191999"/>
              <a:gd name="connsiteY250" fmla="*/ 6324309 h 6858001"/>
              <a:gd name="connsiteX251" fmla="*/ 1427258 w 12191999"/>
              <a:gd name="connsiteY251" fmla="*/ 6327997 h 6858001"/>
              <a:gd name="connsiteX252" fmla="*/ 1430342 w 12191999"/>
              <a:gd name="connsiteY252" fmla="*/ 6337369 h 6858001"/>
              <a:gd name="connsiteX253" fmla="*/ 1430281 w 12191999"/>
              <a:gd name="connsiteY253" fmla="*/ 6340210 h 6858001"/>
              <a:gd name="connsiteX254" fmla="*/ 1410873 w 12191999"/>
              <a:gd name="connsiteY254" fmla="*/ 6343959 h 6858001"/>
              <a:gd name="connsiteX255" fmla="*/ 1401199 w 12191999"/>
              <a:gd name="connsiteY255" fmla="*/ 6345591 h 6858001"/>
              <a:gd name="connsiteX256" fmla="*/ 1393370 w 12191999"/>
              <a:gd name="connsiteY256" fmla="*/ 6349159 h 6858001"/>
              <a:gd name="connsiteX257" fmla="*/ 1387747 w 12191999"/>
              <a:gd name="connsiteY257" fmla="*/ 6355416 h 6858001"/>
              <a:gd name="connsiteX258" fmla="*/ 1385600 w 12191999"/>
              <a:gd name="connsiteY258" fmla="*/ 6364032 h 6858001"/>
              <a:gd name="connsiteX259" fmla="*/ 1391284 w 12191999"/>
              <a:gd name="connsiteY259" fmla="*/ 6377243 h 6858001"/>
              <a:gd name="connsiteX260" fmla="*/ 1407548 w 12191999"/>
              <a:gd name="connsiteY260" fmla="*/ 6382412 h 6858001"/>
              <a:gd name="connsiteX261" fmla="*/ 1419550 w 12191999"/>
              <a:gd name="connsiteY261" fmla="*/ 6380296 h 6858001"/>
              <a:gd name="connsiteX262" fmla="*/ 1431188 w 12191999"/>
              <a:gd name="connsiteY262" fmla="*/ 6373041 h 6858001"/>
              <a:gd name="connsiteX263" fmla="*/ 1433365 w 12191999"/>
              <a:gd name="connsiteY263" fmla="*/ 6380961 h 6858001"/>
              <a:gd name="connsiteX264" fmla="*/ 1444732 w 12191999"/>
              <a:gd name="connsiteY264" fmla="*/ 6380961 h 6858001"/>
              <a:gd name="connsiteX265" fmla="*/ 1441981 w 12191999"/>
              <a:gd name="connsiteY265" fmla="*/ 6373252 h 6858001"/>
              <a:gd name="connsiteX266" fmla="*/ 1441285 w 12191999"/>
              <a:gd name="connsiteY266" fmla="*/ 6354056 h 6858001"/>
              <a:gd name="connsiteX267" fmla="*/ 1441285 w 12191999"/>
              <a:gd name="connsiteY267" fmla="*/ 6339545 h 6858001"/>
              <a:gd name="connsiteX268" fmla="*/ 1440741 w 12191999"/>
              <a:gd name="connsiteY268" fmla="*/ 6329509 h 6858001"/>
              <a:gd name="connsiteX269" fmla="*/ 1437355 w 12191999"/>
              <a:gd name="connsiteY269" fmla="*/ 6322102 h 6858001"/>
              <a:gd name="connsiteX270" fmla="*/ 1429798 w 12191999"/>
              <a:gd name="connsiteY270" fmla="*/ 6317235 h 6858001"/>
              <a:gd name="connsiteX271" fmla="*/ 1416436 w 12191999"/>
              <a:gd name="connsiteY271" fmla="*/ 6315300 h 6858001"/>
              <a:gd name="connsiteX272" fmla="*/ 1167698 w 12191999"/>
              <a:gd name="connsiteY272" fmla="*/ 6315300 h 6858001"/>
              <a:gd name="connsiteX273" fmla="*/ 1147503 w 12191999"/>
              <a:gd name="connsiteY273" fmla="*/ 6322435 h 6858001"/>
              <a:gd name="connsiteX274" fmla="*/ 1137588 w 12191999"/>
              <a:gd name="connsiteY274" fmla="*/ 6348856 h 6858001"/>
              <a:gd name="connsiteX275" fmla="*/ 1145901 w 12191999"/>
              <a:gd name="connsiteY275" fmla="*/ 6373766 h 6858001"/>
              <a:gd name="connsiteX276" fmla="*/ 1167698 w 12191999"/>
              <a:gd name="connsiteY276" fmla="*/ 6382412 h 6858001"/>
              <a:gd name="connsiteX277" fmla="*/ 1183206 w 12191999"/>
              <a:gd name="connsiteY277" fmla="*/ 6378482 h 6858001"/>
              <a:gd name="connsiteX278" fmla="*/ 1194028 w 12191999"/>
              <a:gd name="connsiteY278" fmla="*/ 6367448 h 6858001"/>
              <a:gd name="connsiteX279" fmla="*/ 1197747 w 12191999"/>
              <a:gd name="connsiteY279" fmla="*/ 6347949 h 6858001"/>
              <a:gd name="connsiteX280" fmla="*/ 1189343 w 12191999"/>
              <a:gd name="connsiteY280" fmla="*/ 6323976 h 6858001"/>
              <a:gd name="connsiteX281" fmla="*/ 1167698 w 12191999"/>
              <a:gd name="connsiteY281" fmla="*/ 6315300 h 6858001"/>
              <a:gd name="connsiteX282" fmla="*/ 1057965 w 12191999"/>
              <a:gd name="connsiteY282" fmla="*/ 6315300 h 6858001"/>
              <a:gd name="connsiteX283" fmla="*/ 1048563 w 12191999"/>
              <a:gd name="connsiteY283" fmla="*/ 6316600 h 6858001"/>
              <a:gd name="connsiteX284" fmla="*/ 1041640 w 12191999"/>
              <a:gd name="connsiteY284" fmla="*/ 6319774 h 6858001"/>
              <a:gd name="connsiteX285" fmla="*/ 1036289 w 12191999"/>
              <a:gd name="connsiteY285" fmla="*/ 6325851 h 6858001"/>
              <a:gd name="connsiteX286" fmla="*/ 1034324 w 12191999"/>
              <a:gd name="connsiteY286" fmla="*/ 6333801 h 6858001"/>
              <a:gd name="connsiteX287" fmla="*/ 1036712 w 12191999"/>
              <a:gd name="connsiteY287" fmla="*/ 6342417 h 6858001"/>
              <a:gd name="connsiteX288" fmla="*/ 1043726 w 12191999"/>
              <a:gd name="connsiteY288" fmla="*/ 6348524 h 6858001"/>
              <a:gd name="connsiteX289" fmla="*/ 1060323 w 12191999"/>
              <a:gd name="connsiteY289" fmla="*/ 6353754 h 6858001"/>
              <a:gd name="connsiteX290" fmla="*/ 1071447 w 12191999"/>
              <a:gd name="connsiteY290" fmla="*/ 6357442 h 6858001"/>
              <a:gd name="connsiteX291" fmla="*/ 1074652 w 12191999"/>
              <a:gd name="connsiteY291" fmla="*/ 6363246 h 6858001"/>
              <a:gd name="connsiteX292" fmla="*/ 1071024 w 12191999"/>
              <a:gd name="connsiteY292" fmla="*/ 6370411 h 6858001"/>
              <a:gd name="connsiteX293" fmla="*/ 1059899 w 12191999"/>
              <a:gd name="connsiteY293" fmla="*/ 6373464 h 6858001"/>
              <a:gd name="connsiteX294" fmla="*/ 1048321 w 12191999"/>
              <a:gd name="connsiteY294" fmla="*/ 6370018 h 6858001"/>
              <a:gd name="connsiteX295" fmla="*/ 1043272 w 12191999"/>
              <a:gd name="connsiteY295" fmla="*/ 6360102 h 6858001"/>
              <a:gd name="connsiteX296" fmla="*/ 1032510 w 12191999"/>
              <a:gd name="connsiteY296" fmla="*/ 6361795 h 6858001"/>
              <a:gd name="connsiteX297" fmla="*/ 1040884 w 12191999"/>
              <a:gd name="connsiteY297" fmla="*/ 6377213 h 6858001"/>
              <a:gd name="connsiteX298" fmla="*/ 1059960 w 12191999"/>
              <a:gd name="connsiteY298" fmla="*/ 6382412 h 6858001"/>
              <a:gd name="connsiteX299" fmla="*/ 1073503 w 12191999"/>
              <a:gd name="connsiteY299" fmla="*/ 6379782 h 6858001"/>
              <a:gd name="connsiteX300" fmla="*/ 1082663 w 12191999"/>
              <a:gd name="connsiteY300" fmla="*/ 6372345 h 6858001"/>
              <a:gd name="connsiteX301" fmla="*/ 1085837 w 12191999"/>
              <a:gd name="connsiteY301" fmla="*/ 6362097 h 6858001"/>
              <a:gd name="connsiteX302" fmla="*/ 1083237 w 12191999"/>
              <a:gd name="connsiteY302" fmla="*/ 6352786 h 6858001"/>
              <a:gd name="connsiteX303" fmla="*/ 1076073 w 12191999"/>
              <a:gd name="connsiteY303" fmla="*/ 6347073 h 6858001"/>
              <a:gd name="connsiteX304" fmla="*/ 1059960 w 12191999"/>
              <a:gd name="connsiteY304" fmla="*/ 6342024 h 6858001"/>
              <a:gd name="connsiteX305" fmla="*/ 1050346 w 12191999"/>
              <a:gd name="connsiteY305" fmla="*/ 6339243 h 6858001"/>
              <a:gd name="connsiteX306" fmla="*/ 1046175 w 12191999"/>
              <a:gd name="connsiteY306" fmla="*/ 6336341 h 6858001"/>
              <a:gd name="connsiteX307" fmla="*/ 1044844 w 12191999"/>
              <a:gd name="connsiteY307" fmla="*/ 6332532 h 6858001"/>
              <a:gd name="connsiteX308" fmla="*/ 1048049 w 12191999"/>
              <a:gd name="connsiteY308" fmla="*/ 6326727 h 6858001"/>
              <a:gd name="connsiteX309" fmla="*/ 1058751 w 12191999"/>
              <a:gd name="connsiteY309" fmla="*/ 6324248 h 6858001"/>
              <a:gd name="connsiteX310" fmla="*/ 1068576 w 12191999"/>
              <a:gd name="connsiteY310" fmla="*/ 6327030 h 6858001"/>
              <a:gd name="connsiteX311" fmla="*/ 1072778 w 12191999"/>
              <a:gd name="connsiteY311" fmla="*/ 6334769 h 6858001"/>
              <a:gd name="connsiteX312" fmla="*/ 1083419 w 12191999"/>
              <a:gd name="connsiteY312" fmla="*/ 6333318 h 6858001"/>
              <a:gd name="connsiteX313" fmla="*/ 1079670 w 12191999"/>
              <a:gd name="connsiteY313" fmla="*/ 6323372 h 6858001"/>
              <a:gd name="connsiteX314" fmla="*/ 1071236 w 12191999"/>
              <a:gd name="connsiteY314" fmla="*/ 6317477 h 6858001"/>
              <a:gd name="connsiteX315" fmla="*/ 1057965 w 12191999"/>
              <a:gd name="connsiteY315" fmla="*/ 6315300 h 6858001"/>
              <a:gd name="connsiteX316" fmla="*/ 991290 w 12191999"/>
              <a:gd name="connsiteY316" fmla="*/ 6315300 h 6858001"/>
              <a:gd name="connsiteX317" fmla="*/ 981888 w 12191999"/>
              <a:gd name="connsiteY317" fmla="*/ 6316600 h 6858001"/>
              <a:gd name="connsiteX318" fmla="*/ 974965 w 12191999"/>
              <a:gd name="connsiteY318" fmla="*/ 6319774 h 6858001"/>
              <a:gd name="connsiteX319" fmla="*/ 969614 w 12191999"/>
              <a:gd name="connsiteY319" fmla="*/ 6325851 h 6858001"/>
              <a:gd name="connsiteX320" fmla="*/ 967649 w 12191999"/>
              <a:gd name="connsiteY320" fmla="*/ 6333801 h 6858001"/>
              <a:gd name="connsiteX321" fmla="*/ 970037 w 12191999"/>
              <a:gd name="connsiteY321" fmla="*/ 6342417 h 6858001"/>
              <a:gd name="connsiteX322" fmla="*/ 977051 w 12191999"/>
              <a:gd name="connsiteY322" fmla="*/ 6348524 h 6858001"/>
              <a:gd name="connsiteX323" fmla="*/ 993648 w 12191999"/>
              <a:gd name="connsiteY323" fmla="*/ 6353754 h 6858001"/>
              <a:gd name="connsiteX324" fmla="*/ 1004772 w 12191999"/>
              <a:gd name="connsiteY324" fmla="*/ 6357442 h 6858001"/>
              <a:gd name="connsiteX325" fmla="*/ 1007977 w 12191999"/>
              <a:gd name="connsiteY325" fmla="*/ 6363246 h 6858001"/>
              <a:gd name="connsiteX326" fmla="*/ 1004349 w 12191999"/>
              <a:gd name="connsiteY326" fmla="*/ 6370411 h 6858001"/>
              <a:gd name="connsiteX327" fmla="*/ 993224 w 12191999"/>
              <a:gd name="connsiteY327" fmla="*/ 6373464 h 6858001"/>
              <a:gd name="connsiteX328" fmla="*/ 981646 w 12191999"/>
              <a:gd name="connsiteY328" fmla="*/ 6370018 h 6858001"/>
              <a:gd name="connsiteX329" fmla="*/ 976598 w 12191999"/>
              <a:gd name="connsiteY329" fmla="*/ 6360102 h 6858001"/>
              <a:gd name="connsiteX330" fmla="*/ 965835 w 12191999"/>
              <a:gd name="connsiteY330" fmla="*/ 6361795 h 6858001"/>
              <a:gd name="connsiteX331" fmla="*/ 974209 w 12191999"/>
              <a:gd name="connsiteY331" fmla="*/ 6377213 h 6858001"/>
              <a:gd name="connsiteX332" fmla="*/ 993285 w 12191999"/>
              <a:gd name="connsiteY332" fmla="*/ 6382412 h 6858001"/>
              <a:gd name="connsiteX333" fmla="*/ 1006828 w 12191999"/>
              <a:gd name="connsiteY333" fmla="*/ 6379782 h 6858001"/>
              <a:gd name="connsiteX334" fmla="*/ 1015988 w 12191999"/>
              <a:gd name="connsiteY334" fmla="*/ 6372345 h 6858001"/>
              <a:gd name="connsiteX335" fmla="*/ 1019162 w 12191999"/>
              <a:gd name="connsiteY335" fmla="*/ 6362097 h 6858001"/>
              <a:gd name="connsiteX336" fmla="*/ 1016562 w 12191999"/>
              <a:gd name="connsiteY336" fmla="*/ 6352786 h 6858001"/>
              <a:gd name="connsiteX337" fmla="*/ 1009398 w 12191999"/>
              <a:gd name="connsiteY337" fmla="*/ 6347073 h 6858001"/>
              <a:gd name="connsiteX338" fmla="*/ 993285 w 12191999"/>
              <a:gd name="connsiteY338" fmla="*/ 6342024 h 6858001"/>
              <a:gd name="connsiteX339" fmla="*/ 983671 w 12191999"/>
              <a:gd name="connsiteY339" fmla="*/ 6339243 h 6858001"/>
              <a:gd name="connsiteX340" fmla="*/ 979500 w 12191999"/>
              <a:gd name="connsiteY340" fmla="*/ 6336341 h 6858001"/>
              <a:gd name="connsiteX341" fmla="*/ 978170 w 12191999"/>
              <a:gd name="connsiteY341" fmla="*/ 6332532 h 6858001"/>
              <a:gd name="connsiteX342" fmla="*/ 981374 w 12191999"/>
              <a:gd name="connsiteY342" fmla="*/ 6326727 h 6858001"/>
              <a:gd name="connsiteX343" fmla="*/ 992076 w 12191999"/>
              <a:gd name="connsiteY343" fmla="*/ 6324248 h 6858001"/>
              <a:gd name="connsiteX344" fmla="*/ 1001900 w 12191999"/>
              <a:gd name="connsiteY344" fmla="*/ 6327030 h 6858001"/>
              <a:gd name="connsiteX345" fmla="*/ 1006103 w 12191999"/>
              <a:gd name="connsiteY345" fmla="*/ 6334769 h 6858001"/>
              <a:gd name="connsiteX346" fmla="*/ 1016744 w 12191999"/>
              <a:gd name="connsiteY346" fmla="*/ 6333318 h 6858001"/>
              <a:gd name="connsiteX347" fmla="*/ 1012995 w 12191999"/>
              <a:gd name="connsiteY347" fmla="*/ 6323372 h 6858001"/>
              <a:gd name="connsiteX348" fmla="*/ 1004561 w 12191999"/>
              <a:gd name="connsiteY348" fmla="*/ 6317477 h 6858001"/>
              <a:gd name="connsiteX349" fmla="*/ 991290 w 12191999"/>
              <a:gd name="connsiteY349" fmla="*/ 6315300 h 6858001"/>
              <a:gd name="connsiteX350" fmla="*/ 929875 w 12191999"/>
              <a:gd name="connsiteY350" fmla="*/ 6315300 h 6858001"/>
              <a:gd name="connsiteX351" fmla="*/ 908229 w 12191999"/>
              <a:gd name="connsiteY351" fmla="*/ 6324248 h 6858001"/>
              <a:gd name="connsiteX352" fmla="*/ 899886 w 12191999"/>
              <a:gd name="connsiteY352" fmla="*/ 6349400 h 6858001"/>
              <a:gd name="connsiteX353" fmla="*/ 908139 w 12191999"/>
              <a:gd name="connsiteY353" fmla="*/ 6373736 h 6858001"/>
              <a:gd name="connsiteX354" fmla="*/ 930479 w 12191999"/>
              <a:gd name="connsiteY354" fmla="*/ 6382412 h 6858001"/>
              <a:gd name="connsiteX355" fmla="*/ 948860 w 12191999"/>
              <a:gd name="connsiteY355" fmla="*/ 6376971 h 6858001"/>
              <a:gd name="connsiteX356" fmla="*/ 958715 w 12191999"/>
              <a:gd name="connsiteY356" fmla="*/ 6361674 h 6858001"/>
              <a:gd name="connsiteX357" fmla="*/ 947469 w 12191999"/>
              <a:gd name="connsiteY357" fmla="*/ 6360283 h 6858001"/>
              <a:gd name="connsiteX358" fmla="*/ 940758 w 12191999"/>
              <a:gd name="connsiteY358" fmla="*/ 6370320 h 6858001"/>
              <a:gd name="connsiteX359" fmla="*/ 930540 w 12191999"/>
              <a:gd name="connsiteY359" fmla="*/ 6373464 h 6858001"/>
              <a:gd name="connsiteX360" fmla="*/ 917117 w 12191999"/>
              <a:gd name="connsiteY360" fmla="*/ 6367841 h 6858001"/>
              <a:gd name="connsiteX361" fmla="*/ 911132 w 12191999"/>
              <a:gd name="connsiteY361" fmla="*/ 6351637 h 6858001"/>
              <a:gd name="connsiteX362" fmla="*/ 959017 w 12191999"/>
              <a:gd name="connsiteY362" fmla="*/ 6351637 h 6858001"/>
              <a:gd name="connsiteX363" fmla="*/ 959078 w 12191999"/>
              <a:gd name="connsiteY363" fmla="*/ 6348735 h 6858001"/>
              <a:gd name="connsiteX364" fmla="*/ 950915 w 12191999"/>
              <a:gd name="connsiteY364" fmla="*/ 6324067 h 6858001"/>
              <a:gd name="connsiteX365" fmla="*/ 929875 w 12191999"/>
              <a:gd name="connsiteY365" fmla="*/ 6315300 h 6858001"/>
              <a:gd name="connsiteX366" fmla="*/ 867069 w 12191999"/>
              <a:gd name="connsiteY366" fmla="*/ 6315300 h 6858001"/>
              <a:gd name="connsiteX367" fmla="*/ 846633 w 12191999"/>
              <a:gd name="connsiteY367" fmla="*/ 6325881 h 6858001"/>
              <a:gd name="connsiteX368" fmla="*/ 846633 w 12191999"/>
              <a:gd name="connsiteY368" fmla="*/ 6316751 h 6858001"/>
              <a:gd name="connsiteX369" fmla="*/ 836839 w 12191999"/>
              <a:gd name="connsiteY369" fmla="*/ 6316751 h 6858001"/>
              <a:gd name="connsiteX370" fmla="*/ 836839 w 12191999"/>
              <a:gd name="connsiteY370" fmla="*/ 6380961 h 6858001"/>
              <a:gd name="connsiteX371" fmla="*/ 847722 w 12191999"/>
              <a:gd name="connsiteY371" fmla="*/ 6380961 h 6858001"/>
              <a:gd name="connsiteX372" fmla="*/ 847722 w 12191999"/>
              <a:gd name="connsiteY372" fmla="*/ 6345894 h 6858001"/>
              <a:gd name="connsiteX373" fmla="*/ 852770 w 12191999"/>
              <a:gd name="connsiteY373" fmla="*/ 6329146 h 6858001"/>
              <a:gd name="connsiteX374" fmla="*/ 864772 w 12191999"/>
              <a:gd name="connsiteY374" fmla="*/ 6324732 h 6858001"/>
              <a:gd name="connsiteX375" fmla="*/ 872360 w 12191999"/>
              <a:gd name="connsiteY375" fmla="*/ 6326697 h 6858001"/>
              <a:gd name="connsiteX376" fmla="*/ 876864 w 12191999"/>
              <a:gd name="connsiteY376" fmla="*/ 6331957 h 6858001"/>
              <a:gd name="connsiteX377" fmla="*/ 878134 w 12191999"/>
              <a:gd name="connsiteY377" fmla="*/ 6341903 h 6858001"/>
              <a:gd name="connsiteX378" fmla="*/ 878134 w 12191999"/>
              <a:gd name="connsiteY378" fmla="*/ 6380961 h 6858001"/>
              <a:gd name="connsiteX379" fmla="*/ 889017 w 12191999"/>
              <a:gd name="connsiteY379" fmla="*/ 6380961 h 6858001"/>
              <a:gd name="connsiteX380" fmla="*/ 889017 w 12191999"/>
              <a:gd name="connsiteY380" fmla="*/ 6341480 h 6858001"/>
              <a:gd name="connsiteX381" fmla="*/ 888412 w 12191999"/>
              <a:gd name="connsiteY381" fmla="*/ 6330899 h 6858001"/>
              <a:gd name="connsiteX382" fmla="*/ 885026 w 12191999"/>
              <a:gd name="connsiteY382" fmla="*/ 6322858 h 6858001"/>
              <a:gd name="connsiteX383" fmla="*/ 877741 w 12191999"/>
              <a:gd name="connsiteY383" fmla="*/ 6317386 h 6858001"/>
              <a:gd name="connsiteX384" fmla="*/ 867069 w 12191999"/>
              <a:gd name="connsiteY384" fmla="*/ 6315300 h 6858001"/>
              <a:gd name="connsiteX385" fmla="*/ 762690 w 12191999"/>
              <a:gd name="connsiteY385" fmla="*/ 6315300 h 6858001"/>
              <a:gd name="connsiteX386" fmla="*/ 753288 w 12191999"/>
              <a:gd name="connsiteY386" fmla="*/ 6316600 h 6858001"/>
              <a:gd name="connsiteX387" fmla="*/ 746365 w 12191999"/>
              <a:gd name="connsiteY387" fmla="*/ 6319774 h 6858001"/>
              <a:gd name="connsiteX388" fmla="*/ 741014 w 12191999"/>
              <a:gd name="connsiteY388" fmla="*/ 6325851 h 6858001"/>
              <a:gd name="connsiteX389" fmla="*/ 739049 w 12191999"/>
              <a:gd name="connsiteY389" fmla="*/ 6333801 h 6858001"/>
              <a:gd name="connsiteX390" fmla="*/ 741437 w 12191999"/>
              <a:gd name="connsiteY390" fmla="*/ 6342417 h 6858001"/>
              <a:gd name="connsiteX391" fmla="*/ 748451 w 12191999"/>
              <a:gd name="connsiteY391" fmla="*/ 6348524 h 6858001"/>
              <a:gd name="connsiteX392" fmla="*/ 765048 w 12191999"/>
              <a:gd name="connsiteY392" fmla="*/ 6353754 h 6858001"/>
              <a:gd name="connsiteX393" fmla="*/ 776172 w 12191999"/>
              <a:gd name="connsiteY393" fmla="*/ 6357442 h 6858001"/>
              <a:gd name="connsiteX394" fmla="*/ 779377 w 12191999"/>
              <a:gd name="connsiteY394" fmla="*/ 6363246 h 6858001"/>
              <a:gd name="connsiteX395" fmla="*/ 775749 w 12191999"/>
              <a:gd name="connsiteY395" fmla="*/ 6370411 h 6858001"/>
              <a:gd name="connsiteX396" fmla="*/ 764624 w 12191999"/>
              <a:gd name="connsiteY396" fmla="*/ 6373464 h 6858001"/>
              <a:gd name="connsiteX397" fmla="*/ 753046 w 12191999"/>
              <a:gd name="connsiteY397" fmla="*/ 6370018 h 6858001"/>
              <a:gd name="connsiteX398" fmla="*/ 747997 w 12191999"/>
              <a:gd name="connsiteY398" fmla="*/ 6360102 h 6858001"/>
              <a:gd name="connsiteX399" fmla="*/ 737235 w 12191999"/>
              <a:gd name="connsiteY399" fmla="*/ 6361795 h 6858001"/>
              <a:gd name="connsiteX400" fmla="*/ 745609 w 12191999"/>
              <a:gd name="connsiteY400" fmla="*/ 6377213 h 6858001"/>
              <a:gd name="connsiteX401" fmla="*/ 764685 w 12191999"/>
              <a:gd name="connsiteY401" fmla="*/ 6382412 h 6858001"/>
              <a:gd name="connsiteX402" fmla="*/ 778228 w 12191999"/>
              <a:gd name="connsiteY402" fmla="*/ 6379782 h 6858001"/>
              <a:gd name="connsiteX403" fmla="*/ 787388 w 12191999"/>
              <a:gd name="connsiteY403" fmla="*/ 6372345 h 6858001"/>
              <a:gd name="connsiteX404" fmla="*/ 790562 w 12191999"/>
              <a:gd name="connsiteY404" fmla="*/ 6362097 h 6858001"/>
              <a:gd name="connsiteX405" fmla="*/ 787962 w 12191999"/>
              <a:gd name="connsiteY405" fmla="*/ 6352786 h 6858001"/>
              <a:gd name="connsiteX406" fmla="*/ 780798 w 12191999"/>
              <a:gd name="connsiteY406" fmla="*/ 6347073 h 6858001"/>
              <a:gd name="connsiteX407" fmla="*/ 764685 w 12191999"/>
              <a:gd name="connsiteY407" fmla="*/ 6342024 h 6858001"/>
              <a:gd name="connsiteX408" fmla="*/ 755071 w 12191999"/>
              <a:gd name="connsiteY408" fmla="*/ 6339243 h 6858001"/>
              <a:gd name="connsiteX409" fmla="*/ 750900 w 12191999"/>
              <a:gd name="connsiteY409" fmla="*/ 6336341 h 6858001"/>
              <a:gd name="connsiteX410" fmla="*/ 749569 w 12191999"/>
              <a:gd name="connsiteY410" fmla="*/ 6332532 h 6858001"/>
              <a:gd name="connsiteX411" fmla="*/ 752774 w 12191999"/>
              <a:gd name="connsiteY411" fmla="*/ 6326727 h 6858001"/>
              <a:gd name="connsiteX412" fmla="*/ 763476 w 12191999"/>
              <a:gd name="connsiteY412" fmla="*/ 6324248 h 6858001"/>
              <a:gd name="connsiteX413" fmla="*/ 773301 w 12191999"/>
              <a:gd name="connsiteY413" fmla="*/ 6327030 h 6858001"/>
              <a:gd name="connsiteX414" fmla="*/ 777503 w 12191999"/>
              <a:gd name="connsiteY414" fmla="*/ 6334769 h 6858001"/>
              <a:gd name="connsiteX415" fmla="*/ 788144 w 12191999"/>
              <a:gd name="connsiteY415" fmla="*/ 6333318 h 6858001"/>
              <a:gd name="connsiteX416" fmla="*/ 784395 w 12191999"/>
              <a:gd name="connsiteY416" fmla="*/ 6323372 h 6858001"/>
              <a:gd name="connsiteX417" fmla="*/ 775961 w 12191999"/>
              <a:gd name="connsiteY417" fmla="*/ 6317477 h 6858001"/>
              <a:gd name="connsiteX418" fmla="*/ 762690 w 12191999"/>
              <a:gd name="connsiteY418" fmla="*/ 6315300 h 6858001"/>
              <a:gd name="connsiteX419" fmla="*/ 525681 w 12191999"/>
              <a:gd name="connsiteY419" fmla="*/ 6301636 h 6858001"/>
              <a:gd name="connsiteX420" fmla="*/ 531969 w 12191999"/>
              <a:gd name="connsiteY420" fmla="*/ 6320016 h 6858001"/>
              <a:gd name="connsiteX421" fmla="*/ 541219 w 12191999"/>
              <a:gd name="connsiteY421" fmla="*/ 6344563 h 6858001"/>
              <a:gd name="connsiteX422" fmla="*/ 511170 w 12191999"/>
              <a:gd name="connsiteY422" fmla="*/ 6344563 h 6858001"/>
              <a:gd name="connsiteX423" fmla="*/ 520904 w 12191999"/>
              <a:gd name="connsiteY423" fmla="*/ 6318565 h 6858001"/>
              <a:gd name="connsiteX424" fmla="*/ 525681 w 12191999"/>
              <a:gd name="connsiteY424" fmla="*/ 6301636 h 6858001"/>
              <a:gd name="connsiteX425" fmla="*/ 1847396 w 12191999"/>
              <a:gd name="connsiteY425" fmla="*/ 6292325 h 6858001"/>
              <a:gd name="connsiteX426" fmla="*/ 1847396 w 12191999"/>
              <a:gd name="connsiteY426" fmla="*/ 6380961 h 6858001"/>
              <a:gd name="connsiteX427" fmla="*/ 1902778 w 12191999"/>
              <a:gd name="connsiteY427" fmla="*/ 6380961 h 6858001"/>
              <a:gd name="connsiteX428" fmla="*/ 1902778 w 12191999"/>
              <a:gd name="connsiteY428" fmla="*/ 6370501 h 6858001"/>
              <a:gd name="connsiteX429" fmla="*/ 1859125 w 12191999"/>
              <a:gd name="connsiteY429" fmla="*/ 6370501 h 6858001"/>
              <a:gd name="connsiteX430" fmla="*/ 1859125 w 12191999"/>
              <a:gd name="connsiteY430" fmla="*/ 6292325 h 6858001"/>
              <a:gd name="connsiteX431" fmla="*/ 1676067 w 12191999"/>
              <a:gd name="connsiteY431" fmla="*/ 6292325 h 6858001"/>
              <a:gd name="connsiteX432" fmla="*/ 1676067 w 12191999"/>
              <a:gd name="connsiteY432" fmla="*/ 6380961 h 6858001"/>
              <a:gd name="connsiteX433" fmla="*/ 1687373 w 12191999"/>
              <a:gd name="connsiteY433" fmla="*/ 6380961 h 6858001"/>
              <a:gd name="connsiteX434" fmla="*/ 1687373 w 12191999"/>
              <a:gd name="connsiteY434" fmla="*/ 6305505 h 6858001"/>
              <a:gd name="connsiteX435" fmla="*/ 1713008 w 12191999"/>
              <a:gd name="connsiteY435" fmla="*/ 6380961 h 6858001"/>
              <a:gd name="connsiteX436" fmla="*/ 1723589 w 12191999"/>
              <a:gd name="connsiteY436" fmla="*/ 6380961 h 6858001"/>
              <a:gd name="connsiteX437" fmla="*/ 1749346 w 12191999"/>
              <a:gd name="connsiteY437" fmla="*/ 6306775 h 6858001"/>
              <a:gd name="connsiteX438" fmla="*/ 1749346 w 12191999"/>
              <a:gd name="connsiteY438" fmla="*/ 6380961 h 6858001"/>
              <a:gd name="connsiteX439" fmla="*/ 1760652 w 12191999"/>
              <a:gd name="connsiteY439" fmla="*/ 6380961 h 6858001"/>
              <a:gd name="connsiteX440" fmla="*/ 1760652 w 12191999"/>
              <a:gd name="connsiteY440" fmla="*/ 6292325 h 6858001"/>
              <a:gd name="connsiteX441" fmla="*/ 1744872 w 12191999"/>
              <a:gd name="connsiteY441" fmla="*/ 6292325 h 6858001"/>
              <a:gd name="connsiteX442" fmla="*/ 1723650 w 12191999"/>
              <a:gd name="connsiteY442" fmla="*/ 6353995 h 6858001"/>
              <a:gd name="connsiteX443" fmla="*/ 1718933 w 12191999"/>
              <a:gd name="connsiteY443" fmla="*/ 6368204 h 6858001"/>
              <a:gd name="connsiteX444" fmla="*/ 1714701 w 12191999"/>
              <a:gd name="connsiteY444" fmla="*/ 6355084 h 6858001"/>
              <a:gd name="connsiteX445" fmla="*/ 1693721 w 12191999"/>
              <a:gd name="connsiteY445" fmla="*/ 6292325 h 6858001"/>
              <a:gd name="connsiteX446" fmla="*/ 1560739 w 12191999"/>
              <a:gd name="connsiteY446" fmla="*/ 6292325 h 6858001"/>
              <a:gd name="connsiteX447" fmla="*/ 1560739 w 12191999"/>
              <a:gd name="connsiteY447" fmla="*/ 6380961 h 6858001"/>
              <a:gd name="connsiteX448" fmla="*/ 1571622 w 12191999"/>
              <a:gd name="connsiteY448" fmla="*/ 6380961 h 6858001"/>
              <a:gd name="connsiteX449" fmla="*/ 1571622 w 12191999"/>
              <a:gd name="connsiteY449" fmla="*/ 6345833 h 6858001"/>
              <a:gd name="connsiteX450" fmla="*/ 1573435 w 12191999"/>
              <a:gd name="connsiteY450" fmla="*/ 6333983 h 6858001"/>
              <a:gd name="connsiteX451" fmla="*/ 1579512 w 12191999"/>
              <a:gd name="connsiteY451" fmla="*/ 6327181 h 6858001"/>
              <a:gd name="connsiteX452" fmla="*/ 1588611 w 12191999"/>
              <a:gd name="connsiteY452" fmla="*/ 6324672 h 6858001"/>
              <a:gd name="connsiteX453" fmla="*/ 1598618 w 12191999"/>
              <a:gd name="connsiteY453" fmla="*/ 6328390 h 6858001"/>
              <a:gd name="connsiteX454" fmla="*/ 1602155 w 12191999"/>
              <a:gd name="connsiteY454" fmla="*/ 6340271 h 6858001"/>
              <a:gd name="connsiteX455" fmla="*/ 1602155 w 12191999"/>
              <a:gd name="connsiteY455" fmla="*/ 6380961 h 6858001"/>
              <a:gd name="connsiteX456" fmla="*/ 1613038 w 12191999"/>
              <a:gd name="connsiteY456" fmla="*/ 6380961 h 6858001"/>
              <a:gd name="connsiteX457" fmla="*/ 1613038 w 12191999"/>
              <a:gd name="connsiteY457" fmla="*/ 6340271 h 6858001"/>
              <a:gd name="connsiteX458" fmla="*/ 1610771 w 12191999"/>
              <a:gd name="connsiteY458" fmla="*/ 6325881 h 6858001"/>
              <a:gd name="connsiteX459" fmla="*/ 1603243 w 12191999"/>
              <a:gd name="connsiteY459" fmla="*/ 6318112 h 6858001"/>
              <a:gd name="connsiteX460" fmla="*/ 1590848 w 12191999"/>
              <a:gd name="connsiteY460" fmla="*/ 6315300 h 6858001"/>
              <a:gd name="connsiteX461" fmla="*/ 1571622 w 12191999"/>
              <a:gd name="connsiteY461" fmla="*/ 6324128 h 6858001"/>
              <a:gd name="connsiteX462" fmla="*/ 1571622 w 12191999"/>
              <a:gd name="connsiteY462" fmla="*/ 6292325 h 6858001"/>
              <a:gd name="connsiteX463" fmla="*/ 1285542 w 12191999"/>
              <a:gd name="connsiteY463" fmla="*/ 6292325 h 6858001"/>
              <a:gd name="connsiteX464" fmla="*/ 1285542 w 12191999"/>
              <a:gd name="connsiteY464" fmla="*/ 6380961 h 6858001"/>
              <a:gd name="connsiteX465" fmla="*/ 1296848 w 12191999"/>
              <a:gd name="connsiteY465" fmla="*/ 6380961 h 6858001"/>
              <a:gd name="connsiteX466" fmla="*/ 1296848 w 12191999"/>
              <a:gd name="connsiteY466" fmla="*/ 6305505 h 6858001"/>
              <a:gd name="connsiteX467" fmla="*/ 1322484 w 12191999"/>
              <a:gd name="connsiteY467" fmla="*/ 6380961 h 6858001"/>
              <a:gd name="connsiteX468" fmla="*/ 1333064 w 12191999"/>
              <a:gd name="connsiteY468" fmla="*/ 6380961 h 6858001"/>
              <a:gd name="connsiteX469" fmla="*/ 1358821 w 12191999"/>
              <a:gd name="connsiteY469" fmla="*/ 6306775 h 6858001"/>
              <a:gd name="connsiteX470" fmla="*/ 1358821 w 12191999"/>
              <a:gd name="connsiteY470" fmla="*/ 6380961 h 6858001"/>
              <a:gd name="connsiteX471" fmla="*/ 1370127 w 12191999"/>
              <a:gd name="connsiteY471" fmla="*/ 6380961 h 6858001"/>
              <a:gd name="connsiteX472" fmla="*/ 1370127 w 12191999"/>
              <a:gd name="connsiteY472" fmla="*/ 6292325 h 6858001"/>
              <a:gd name="connsiteX473" fmla="*/ 1354347 w 12191999"/>
              <a:gd name="connsiteY473" fmla="*/ 6292325 h 6858001"/>
              <a:gd name="connsiteX474" fmla="*/ 1333125 w 12191999"/>
              <a:gd name="connsiteY474" fmla="*/ 6353995 h 6858001"/>
              <a:gd name="connsiteX475" fmla="*/ 1328409 w 12191999"/>
              <a:gd name="connsiteY475" fmla="*/ 6368204 h 6858001"/>
              <a:gd name="connsiteX476" fmla="*/ 1324176 w 12191999"/>
              <a:gd name="connsiteY476" fmla="*/ 6355084 h 6858001"/>
              <a:gd name="connsiteX477" fmla="*/ 1303196 w 12191999"/>
              <a:gd name="connsiteY477" fmla="*/ 6292325 h 6858001"/>
              <a:gd name="connsiteX478" fmla="*/ 808324 w 12191999"/>
              <a:gd name="connsiteY478" fmla="*/ 6292325 h 6858001"/>
              <a:gd name="connsiteX479" fmla="*/ 808324 w 12191999"/>
              <a:gd name="connsiteY479" fmla="*/ 6304840 h 6858001"/>
              <a:gd name="connsiteX480" fmla="*/ 819207 w 12191999"/>
              <a:gd name="connsiteY480" fmla="*/ 6304840 h 6858001"/>
              <a:gd name="connsiteX481" fmla="*/ 819207 w 12191999"/>
              <a:gd name="connsiteY481" fmla="*/ 6292325 h 6858001"/>
              <a:gd name="connsiteX482" fmla="*/ 608178 w 12191999"/>
              <a:gd name="connsiteY482" fmla="*/ 6292325 h 6858001"/>
              <a:gd name="connsiteX483" fmla="*/ 608178 w 12191999"/>
              <a:gd name="connsiteY483" fmla="*/ 6380961 h 6858001"/>
              <a:gd name="connsiteX484" fmla="*/ 618275 w 12191999"/>
              <a:gd name="connsiteY484" fmla="*/ 6380961 h 6858001"/>
              <a:gd name="connsiteX485" fmla="*/ 618275 w 12191999"/>
              <a:gd name="connsiteY485" fmla="*/ 6372920 h 6858001"/>
              <a:gd name="connsiteX486" fmla="*/ 636111 w 12191999"/>
              <a:gd name="connsiteY486" fmla="*/ 6382412 h 6858001"/>
              <a:gd name="connsiteX487" fmla="*/ 655701 w 12191999"/>
              <a:gd name="connsiteY487" fmla="*/ 6373404 h 6858001"/>
              <a:gd name="connsiteX488" fmla="*/ 663863 w 12191999"/>
              <a:gd name="connsiteY488" fmla="*/ 6347889 h 6858001"/>
              <a:gd name="connsiteX489" fmla="*/ 661928 w 12191999"/>
              <a:gd name="connsiteY489" fmla="*/ 6334829 h 6858001"/>
              <a:gd name="connsiteX490" fmla="*/ 656577 w 12191999"/>
              <a:gd name="connsiteY490" fmla="*/ 6324400 h 6858001"/>
              <a:gd name="connsiteX491" fmla="*/ 647871 w 12191999"/>
              <a:gd name="connsiteY491" fmla="*/ 6317688 h 6858001"/>
              <a:gd name="connsiteX492" fmla="*/ 636655 w 12191999"/>
              <a:gd name="connsiteY492" fmla="*/ 6315300 h 6858001"/>
              <a:gd name="connsiteX493" fmla="*/ 619061 w 12191999"/>
              <a:gd name="connsiteY493" fmla="*/ 6323946 h 6858001"/>
              <a:gd name="connsiteX494" fmla="*/ 619061 w 12191999"/>
              <a:gd name="connsiteY494" fmla="*/ 6292325 h 6858001"/>
              <a:gd name="connsiteX495" fmla="*/ 519635 w 12191999"/>
              <a:gd name="connsiteY495" fmla="*/ 6292325 h 6858001"/>
              <a:gd name="connsiteX496" fmla="*/ 485595 w 12191999"/>
              <a:gd name="connsiteY496" fmla="*/ 6380961 h 6858001"/>
              <a:gd name="connsiteX497" fmla="*/ 498050 w 12191999"/>
              <a:gd name="connsiteY497" fmla="*/ 6380961 h 6858001"/>
              <a:gd name="connsiteX498" fmla="*/ 507784 w 12191999"/>
              <a:gd name="connsiteY498" fmla="*/ 6354116 h 6858001"/>
              <a:gd name="connsiteX499" fmla="*/ 544847 w 12191999"/>
              <a:gd name="connsiteY499" fmla="*/ 6354116 h 6858001"/>
              <a:gd name="connsiteX500" fmla="*/ 555186 w 12191999"/>
              <a:gd name="connsiteY500" fmla="*/ 6380961 h 6858001"/>
              <a:gd name="connsiteX501" fmla="*/ 568548 w 12191999"/>
              <a:gd name="connsiteY501" fmla="*/ 6380961 h 6858001"/>
              <a:gd name="connsiteX502" fmla="*/ 532271 w 12191999"/>
              <a:gd name="connsiteY502" fmla="*/ 6292325 h 6858001"/>
              <a:gd name="connsiteX503" fmla="*/ 1228689 w 12191999"/>
              <a:gd name="connsiteY503" fmla="*/ 6290813 h 6858001"/>
              <a:gd name="connsiteX504" fmla="*/ 1217594 w 12191999"/>
              <a:gd name="connsiteY504" fmla="*/ 6293443 h 6858001"/>
              <a:gd name="connsiteX505" fmla="*/ 1212062 w 12191999"/>
              <a:gd name="connsiteY505" fmla="*/ 6300306 h 6858001"/>
              <a:gd name="connsiteX506" fmla="*/ 1210914 w 12191999"/>
              <a:gd name="connsiteY506" fmla="*/ 6309919 h 6858001"/>
              <a:gd name="connsiteX507" fmla="*/ 1210914 w 12191999"/>
              <a:gd name="connsiteY507" fmla="*/ 6316751 h 6858001"/>
              <a:gd name="connsiteX508" fmla="*/ 1201300 w 12191999"/>
              <a:gd name="connsiteY508" fmla="*/ 6316751 h 6858001"/>
              <a:gd name="connsiteX509" fmla="*/ 1201300 w 12191999"/>
              <a:gd name="connsiteY509" fmla="*/ 6325216 h 6858001"/>
              <a:gd name="connsiteX510" fmla="*/ 1210914 w 12191999"/>
              <a:gd name="connsiteY510" fmla="*/ 6325216 h 6858001"/>
              <a:gd name="connsiteX511" fmla="*/ 1210914 w 12191999"/>
              <a:gd name="connsiteY511" fmla="*/ 6380961 h 6858001"/>
              <a:gd name="connsiteX512" fmla="*/ 1221736 w 12191999"/>
              <a:gd name="connsiteY512" fmla="*/ 6380961 h 6858001"/>
              <a:gd name="connsiteX513" fmla="*/ 1221736 w 12191999"/>
              <a:gd name="connsiteY513" fmla="*/ 6325216 h 6858001"/>
              <a:gd name="connsiteX514" fmla="*/ 1234252 w 12191999"/>
              <a:gd name="connsiteY514" fmla="*/ 6325216 h 6858001"/>
              <a:gd name="connsiteX515" fmla="*/ 1234252 w 12191999"/>
              <a:gd name="connsiteY515" fmla="*/ 6316751 h 6858001"/>
              <a:gd name="connsiteX516" fmla="*/ 1221736 w 12191999"/>
              <a:gd name="connsiteY516" fmla="*/ 6316751 h 6858001"/>
              <a:gd name="connsiteX517" fmla="*/ 1221736 w 12191999"/>
              <a:gd name="connsiteY517" fmla="*/ 6310826 h 6858001"/>
              <a:gd name="connsiteX518" fmla="*/ 1223792 w 12191999"/>
              <a:gd name="connsiteY518" fmla="*/ 6302906 h 6858001"/>
              <a:gd name="connsiteX519" fmla="*/ 1230805 w 12191999"/>
              <a:gd name="connsiteY519" fmla="*/ 6300789 h 6858001"/>
              <a:gd name="connsiteX520" fmla="*/ 1237214 w 12191999"/>
              <a:gd name="connsiteY520" fmla="*/ 6301394 h 6858001"/>
              <a:gd name="connsiteX521" fmla="*/ 1238847 w 12191999"/>
              <a:gd name="connsiteY521" fmla="*/ 6291902 h 6858001"/>
              <a:gd name="connsiteX522" fmla="*/ 1228689 w 12191999"/>
              <a:gd name="connsiteY522" fmla="*/ 6290813 h 6858001"/>
              <a:gd name="connsiteX523" fmla="*/ 7175501 w 12191999"/>
              <a:gd name="connsiteY523" fmla="*/ 1 h 6858001"/>
              <a:gd name="connsiteX524" fmla="*/ 12191999 w 12191999"/>
              <a:gd name="connsiteY524" fmla="*/ 1 h 6858001"/>
              <a:gd name="connsiteX525" fmla="*/ 12191999 w 12191999"/>
              <a:gd name="connsiteY525" fmla="*/ 6858001 h 6858001"/>
              <a:gd name="connsiteX526" fmla="*/ 1 w 12191999"/>
              <a:gd name="connsiteY526" fmla="*/ 6858001 h 6858001"/>
              <a:gd name="connsiteX527" fmla="*/ 1 w 12191999"/>
              <a:gd name="connsiteY527" fmla="*/ 5752619 h 6858001"/>
              <a:gd name="connsiteX528" fmla="*/ 7175501 w 12191999"/>
              <a:gd name="connsiteY528" fmla="*/ 5752619 h 6858001"/>
              <a:gd name="connsiteX529" fmla="*/ 0 w 12191999"/>
              <a:gd name="connsiteY529" fmla="*/ 0 h 6858001"/>
              <a:gd name="connsiteX530" fmla="*/ 7175501 w 12191999"/>
              <a:gd name="connsiteY530" fmla="*/ 0 h 6858001"/>
              <a:gd name="connsiteX531" fmla="*/ 7175501 w 12191999"/>
              <a:gd name="connsiteY531" fmla="*/ 1 h 6858001"/>
              <a:gd name="connsiteX532" fmla="*/ 1 w 12191999"/>
              <a:gd name="connsiteY532" fmla="*/ 1 h 6858001"/>
              <a:gd name="connsiteX533" fmla="*/ 1 w 12191999"/>
              <a:gd name="connsiteY533" fmla="*/ 5752619 h 6858001"/>
              <a:gd name="connsiteX534" fmla="*/ 0 w 12191999"/>
              <a:gd name="connsiteY534" fmla="*/ 5752619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Lst>
            <a:rect l="l" t="t" r="r" b="b"/>
            <a:pathLst>
              <a:path w="12191999" h="6858001">
                <a:moveTo>
                  <a:pt x="2154182" y="6348735"/>
                </a:moveTo>
                <a:lnTo>
                  <a:pt x="2154182" y="6352726"/>
                </a:lnTo>
                <a:cubicBezTo>
                  <a:pt x="2154182" y="6357522"/>
                  <a:pt x="2153597" y="6361150"/>
                  <a:pt x="2152428" y="6363609"/>
                </a:cubicBezTo>
                <a:cubicBezTo>
                  <a:pt x="2150896" y="6366793"/>
                  <a:pt x="2148498" y="6369302"/>
                  <a:pt x="2145233" y="6371136"/>
                </a:cubicBezTo>
                <a:cubicBezTo>
                  <a:pt x="2141968" y="6372970"/>
                  <a:pt x="2138240" y="6373887"/>
                  <a:pt x="2134048" y="6373887"/>
                </a:cubicBezTo>
                <a:cubicBezTo>
                  <a:pt x="2129816" y="6373887"/>
                  <a:pt x="2126601" y="6372920"/>
                  <a:pt x="2124404" y="6370985"/>
                </a:cubicBezTo>
                <a:cubicBezTo>
                  <a:pt x="2122207" y="6369050"/>
                  <a:pt x="2121109" y="6366632"/>
                  <a:pt x="2121109" y="6363730"/>
                </a:cubicBezTo>
                <a:cubicBezTo>
                  <a:pt x="2121109" y="6361835"/>
                  <a:pt x="2121613" y="6360112"/>
                  <a:pt x="2122621" y="6358560"/>
                </a:cubicBezTo>
                <a:cubicBezTo>
                  <a:pt x="2123628" y="6357008"/>
                  <a:pt x="2125059" y="6355829"/>
                  <a:pt x="2126913" y="6355023"/>
                </a:cubicBezTo>
                <a:cubicBezTo>
                  <a:pt x="2128768" y="6354217"/>
                  <a:pt x="2131932" y="6353492"/>
                  <a:pt x="2136406" y="6352847"/>
                </a:cubicBezTo>
                <a:cubicBezTo>
                  <a:pt x="2144306" y="6351718"/>
                  <a:pt x="2150231" y="6350348"/>
                  <a:pt x="2154182" y="6348735"/>
                </a:cubicBezTo>
                <a:close/>
                <a:moveTo>
                  <a:pt x="1430281" y="6348735"/>
                </a:moveTo>
                <a:lnTo>
                  <a:pt x="1430281" y="6352726"/>
                </a:lnTo>
                <a:cubicBezTo>
                  <a:pt x="1430281" y="6357522"/>
                  <a:pt x="1429697" y="6361150"/>
                  <a:pt x="1428528" y="6363609"/>
                </a:cubicBezTo>
                <a:cubicBezTo>
                  <a:pt x="1426997" y="6366793"/>
                  <a:pt x="1424598" y="6369302"/>
                  <a:pt x="1421333" y="6371136"/>
                </a:cubicBezTo>
                <a:cubicBezTo>
                  <a:pt x="1418068" y="6372970"/>
                  <a:pt x="1414340" y="6373887"/>
                  <a:pt x="1410148" y="6373887"/>
                </a:cubicBezTo>
                <a:cubicBezTo>
                  <a:pt x="1405916" y="6373887"/>
                  <a:pt x="1402701" y="6372920"/>
                  <a:pt x="1400504" y="6370985"/>
                </a:cubicBezTo>
                <a:cubicBezTo>
                  <a:pt x="1398308" y="6369050"/>
                  <a:pt x="1397209" y="6366632"/>
                  <a:pt x="1397209" y="6363730"/>
                </a:cubicBezTo>
                <a:cubicBezTo>
                  <a:pt x="1397209" y="6361835"/>
                  <a:pt x="1397713" y="6360112"/>
                  <a:pt x="1398721" y="6358560"/>
                </a:cubicBezTo>
                <a:cubicBezTo>
                  <a:pt x="1399728" y="6357008"/>
                  <a:pt x="1401159" y="6355829"/>
                  <a:pt x="1403013" y="6355023"/>
                </a:cubicBezTo>
                <a:cubicBezTo>
                  <a:pt x="1404867" y="6354217"/>
                  <a:pt x="1408032" y="6353492"/>
                  <a:pt x="1412506" y="6352847"/>
                </a:cubicBezTo>
                <a:cubicBezTo>
                  <a:pt x="1420406" y="6351718"/>
                  <a:pt x="1426331" y="6350348"/>
                  <a:pt x="1430281" y="6348735"/>
                </a:cubicBezTo>
                <a:close/>
                <a:moveTo>
                  <a:pt x="1167698" y="6324309"/>
                </a:moveTo>
                <a:cubicBezTo>
                  <a:pt x="1173058" y="6324309"/>
                  <a:pt x="1177543" y="6326355"/>
                  <a:pt x="1181150" y="6330446"/>
                </a:cubicBezTo>
                <a:cubicBezTo>
                  <a:pt x="1184758" y="6334537"/>
                  <a:pt x="1186561" y="6340553"/>
                  <a:pt x="1186561" y="6348493"/>
                </a:cubicBezTo>
                <a:cubicBezTo>
                  <a:pt x="1186561" y="6356918"/>
                  <a:pt x="1184768" y="6363186"/>
                  <a:pt x="1181180" y="6367297"/>
                </a:cubicBezTo>
                <a:cubicBezTo>
                  <a:pt x="1177593" y="6371408"/>
                  <a:pt x="1173099" y="6373464"/>
                  <a:pt x="1167698" y="6373464"/>
                </a:cubicBezTo>
                <a:cubicBezTo>
                  <a:pt x="1162256" y="6373464"/>
                  <a:pt x="1157741" y="6371418"/>
                  <a:pt x="1154154" y="6367327"/>
                </a:cubicBezTo>
                <a:cubicBezTo>
                  <a:pt x="1150567" y="6363236"/>
                  <a:pt x="1148773" y="6357079"/>
                  <a:pt x="1148773" y="6348856"/>
                </a:cubicBezTo>
                <a:cubicBezTo>
                  <a:pt x="1148773" y="6340633"/>
                  <a:pt x="1150567" y="6334487"/>
                  <a:pt x="1154154" y="6330415"/>
                </a:cubicBezTo>
                <a:cubicBezTo>
                  <a:pt x="1157741" y="6326344"/>
                  <a:pt x="1162256" y="6324309"/>
                  <a:pt x="1167698" y="6324309"/>
                </a:cubicBezTo>
                <a:close/>
                <a:moveTo>
                  <a:pt x="1939646" y="6324248"/>
                </a:moveTo>
                <a:cubicBezTo>
                  <a:pt x="1945168" y="6324248"/>
                  <a:pt x="1949662" y="6326344"/>
                  <a:pt x="1953129" y="6330536"/>
                </a:cubicBezTo>
                <a:cubicBezTo>
                  <a:pt x="1955386" y="6333237"/>
                  <a:pt x="1956756" y="6337288"/>
                  <a:pt x="1957240" y="6342689"/>
                </a:cubicBezTo>
                <a:lnTo>
                  <a:pt x="1921387" y="6342689"/>
                </a:lnTo>
                <a:cubicBezTo>
                  <a:pt x="1921749" y="6337086"/>
                  <a:pt x="1923634" y="6332612"/>
                  <a:pt x="1927040" y="6329267"/>
                </a:cubicBezTo>
                <a:cubicBezTo>
                  <a:pt x="1930445" y="6325921"/>
                  <a:pt x="1934648" y="6324248"/>
                  <a:pt x="1939646" y="6324248"/>
                </a:cubicBezTo>
                <a:close/>
                <a:moveTo>
                  <a:pt x="929996" y="6324248"/>
                </a:moveTo>
                <a:cubicBezTo>
                  <a:pt x="935518" y="6324248"/>
                  <a:pt x="940012" y="6326344"/>
                  <a:pt x="943479" y="6330536"/>
                </a:cubicBezTo>
                <a:cubicBezTo>
                  <a:pt x="945736" y="6333237"/>
                  <a:pt x="947106" y="6337288"/>
                  <a:pt x="947590" y="6342689"/>
                </a:cubicBezTo>
                <a:lnTo>
                  <a:pt x="911736" y="6342689"/>
                </a:lnTo>
                <a:cubicBezTo>
                  <a:pt x="912099" y="6337086"/>
                  <a:pt x="913983" y="6332612"/>
                  <a:pt x="917389" y="6329267"/>
                </a:cubicBezTo>
                <a:cubicBezTo>
                  <a:pt x="920795" y="6325921"/>
                  <a:pt x="924997" y="6324248"/>
                  <a:pt x="929996" y="6324248"/>
                </a:cubicBezTo>
                <a:close/>
                <a:moveTo>
                  <a:pt x="635688" y="6324248"/>
                </a:moveTo>
                <a:cubicBezTo>
                  <a:pt x="640404" y="6324248"/>
                  <a:pt x="644425" y="6326244"/>
                  <a:pt x="647750" y="6330234"/>
                </a:cubicBezTo>
                <a:cubicBezTo>
                  <a:pt x="651075" y="6334225"/>
                  <a:pt x="652738" y="6340412"/>
                  <a:pt x="652738" y="6348796"/>
                </a:cubicBezTo>
                <a:cubicBezTo>
                  <a:pt x="652738" y="6356978"/>
                  <a:pt x="651005" y="6363135"/>
                  <a:pt x="647538" y="6367267"/>
                </a:cubicBezTo>
                <a:cubicBezTo>
                  <a:pt x="644072" y="6371398"/>
                  <a:pt x="639961" y="6373464"/>
                  <a:pt x="635204" y="6373464"/>
                </a:cubicBezTo>
                <a:cubicBezTo>
                  <a:pt x="629360" y="6373464"/>
                  <a:pt x="624724" y="6370663"/>
                  <a:pt x="621298" y="6365060"/>
                </a:cubicBezTo>
                <a:cubicBezTo>
                  <a:pt x="619202" y="6361634"/>
                  <a:pt x="618154" y="6356071"/>
                  <a:pt x="618154" y="6348373"/>
                </a:cubicBezTo>
                <a:cubicBezTo>
                  <a:pt x="618154" y="6340553"/>
                  <a:pt x="619887" y="6334577"/>
                  <a:pt x="623354" y="6330446"/>
                </a:cubicBezTo>
                <a:cubicBezTo>
                  <a:pt x="626820" y="6326314"/>
                  <a:pt x="630932" y="6324248"/>
                  <a:pt x="635688" y="6324248"/>
                </a:cubicBezTo>
                <a:close/>
                <a:moveTo>
                  <a:pt x="808324" y="6316751"/>
                </a:moveTo>
                <a:lnTo>
                  <a:pt x="808324" y="6380961"/>
                </a:lnTo>
                <a:lnTo>
                  <a:pt x="819207" y="6380961"/>
                </a:lnTo>
                <a:lnTo>
                  <a:pt x="819207" y="6316751"/>
                </a:lnTo>
                <a:close/>
                <a:moveTo>
                  <a:pt x="674672" y="6316751"/>
                </a:moveTo>
                <a:lnTo>
                  <a:pt x="674672" y="6356535"/>
                </a:lnTo>
                <a:cubicBezTo>
                  <a:pt x="674672" y="6361170"/>
                  <a:pt x="674893" y="6364556"/>
                  <a:pt x="675337" y="6366692"/>
                </a:cubicBezTo>
                <a:cubicBezTo>
                  <a:pt x="675982" y="6369877"/>
                  <a:pt x="677100" y="6372567"/>
                  <a:pt x="678692" y="6374764"/>
                </a:cubicBezTo>
                <a:cubicBezTo>
                  <a:pt x="680284" y="6376961"/>
                  <a:pt x="682723" y="6378785"/>
                  <a:pt x="686008" y="6380236"/>
                </a:cubicBezTo>
                <a:cubicBezTo>
                  <a:pt x="689293" y="6381687"/>
                  <a:pt x="692830" y="6382412"/>
                  <a:pt x="696619" y="6382412"/>
                </a:cubicBezTo>
                <a:cubicBezTo>
                  <a:pt x="705205" y="6382412"/>
                  <a:pt x="711997" y="6378785"/>
                  <a:pt x="716995" y="6371529"/>
                </a:cubicBezTo>
                <a:lnTo>
                  <a:pt x="716995" y="6380961"/>
                </a:lnTo>
                <a:lnTo>
                  <a:pt x="726729" y="6380961"/>
                </a:lnTo>
                <a:lnTo>
                  <a:pt x="726729" y="6316751"/>
                </a:lnTo>
                <a:lnTo>
                  <a:pt x="715846" y="6316751"/>
                </a:lnTo>
                <a:lnTo>
                  <a:pt x="715846" y="6351154"/>
                </a:lnTo>
                <a:cubicBezTo>
                  <a:pt x="715846" y="6356636"/>
                  <a:pt x="715251" y="6360818"/>
                  <a:pt x="714062" y="6363700"/>
                </a:cubicBezTo>
                <a:cubicBezTo>
                  <a:pt x="712873" y="6366582"/>
                  <a:pt x="710848" y="6368859"/>
                  <a:pt x="707986" y="6370532"/>
                </a:cubicBezTo>
                <a:cubicBezTo>
                  <a:pt x="705124" y="6372204"/>
                  <a:pt x="702061" y="6373041"/>
                  <a:pt x="698796" y="6373041"/>
                </a:cubicBezTo>
                <a:cubicBezTo>
                  <a:pt x="695531" y="6373041"/>
                  <a:pt x="692790" y="6372225"/>
                  <a:pt x="690573" y="6370592"/>
                </a:cubicBezTo>
                <a:cubicBezTo>
                  <a:pt x="688356" y="6368960"/>
                  <a:pt x="686905" y="6366713"/>
                  <a:pt x="686220" y="6363851"/>
                </a:cubicBezTo>
                <a:cubicBezTo>
                  <a:pt x="685776" y="6361876"/>
                  <a:pt x="685555" y="6358046"/>
                  <a:pt x="685555" y="6352363"/>
                </a:cubicBezTo>
                <a:lnTo>
                  <a:pt x="685555" y="6316751"/>
                </a:lnTo>
                <a:close/>
                <a:moveTo>
                  <a:pt x="2210094" y="6315300"/>
                </a:moveTo>
                <a:cubicBezTo>
                  <a:pt x="2201186" y="6315300"/>
                  <a:pt x="2194374" y="6318827"/>
                  <a:pt x="2189659" y="6325881"/>
                </a:cubicBezTo>
                <a:lnTo>
                  <a:pt x="2189659" y="6316751"/>
                </a:lnTo>
                <a:lnTo>
                  <a:pt x="2179864" y="6316751"/>
                </a:lnTo>
                <a:lnTo>
                  <a:pt x="2179864" y="6380961"/>
                </a:lnTo>
                <a:lnTo>
                  <a:pt x="2190747" y="6380961"/>
                </a:lnTo>
                <a:lnTo>
                  <a:pt x="2190747" y="6345894"/>
                </a:lnTo>
                <a:cubicBezTo>
                  <a:pt x="2190747" y="6337671"/>
                  <a:pt x="2192430" y="6332088"/>
                  <a:pt x="2195795" y="6329146"/>
                </a:cubicBezTo>
                <a:cubicBezTo>
                  <a:pt x="2199161" y="6326203"/>
                  <a:pt x="2203161" y="6324732"/>
                  <a:pt x="2207797" y="6324732"/>
                </a:cubicBezTo>
                <a:cubicBezTo>
                  <a:pt x="2210699" y="6324732"/>
                  <a:pt x="2213228" y="6325387"/>
                  <a:pt x="2215385" y="6326697"/>
                </a:cubicBezTo>
                <a:cubicBezTo>
                  <a:pt x="2217541" y="6328007"/>
                  <a:pt x="2219043" y="6329761"/>
                  <a:pt x="2219889" y="6331957"/>
                </a:cubicBezTo>
                <a:cubicBezTo>
                  <a:pt x="2220735" y="6334154"/>
                  <a:pt x="2221159" y="6337469"/>
                  <a:pt x="2221159" y="6341903"/>
                </a:cubicBezTo>
                <a:lnTo>
                  <a:pt x="2221159" y="6380961"/>
                </a:lnTo>
                <a:lnTo>
                  <a:pt x="2232042" y="6380961"/>
                </a:lnTo>
                <a:lnTo>
                  <a:pt x="2232042" y="6341480"/>
                </a:lnTo>
                <a:cubicBezTo>
                  <a:pt x="2232042" y="6336441"/>
                  <a:pt x="2231840" y="6332915"/>
                  <a:pt x="2231437" y="6330899"/>
                </a:cubicBezTo>
                <a:cubicBezTo>
                  <a:pt x="2230792" y="6327796"/>
                  <a:pt x="2229664" y="6325115"/>
                  <a:pt x="2228052" y="6322858"/>
                </a:cubicBezTo>
                <a:cubicBezTo>
                  <a:pt x="2226439" y="6320601"/>
                  <a:pt x="2224011" y="6318777"/>
                  <a:pt x="2220766" y="6317386"/>
                </a:cubicBezTo>
                <a:cubicBezTo>
                  <a:pt x="2217521" y="6315995"/>
                  <a:pt x="2213964" y="6315300"/>
                  <a:pt x="2210094" y="6315300"/>
                </a:cubicBezTo>
                <a:close/>
                <a:moveTo>
                  <a:pt x="2140336" y="6315300"/>
                </a:moveTo>
                <a:cubicBezTo>
                  <a:pt x="2134814" y="6315300"/>
                  <a:pt x="2129957" y="6316056"/>
                  <a:pt x="2125765" y="6317567"/>
                </a:cubicBezTo>
                <a:cubicBezTo>
                  <a:pt x="2121573" y="6319079"/>
                  <a:pt x="2118368" y="6321235"/>
                  <a:pt x="2116151" y="6324037"/>
                </a:cubicBezTo>
                <a:cubicBezTo>
                  <a:pt x="2113934" y="6326838"/>
                  <a:pt x="2112342" y="6330516"/>
                  <a:pt x="2111375" y="6335071"/>
                </a:cubicBezTo>
                <a:lnTo>
                  <a:pt x="2122016" y="6336522"/>
                </a:lnTo>
                <a:cubicBezTo>
                  <a:pt x="2123185" y="6331967"/>
                  <a:pt x="2124989" y="6328793"/>
                  <a:pt x="2127427" y="6326999"/>
                </a:cubicBezTo>
                <a:cubicBezTo>
                  <a:pt x="2129866" y="6325206"/>
                  <a:pt x="2133645" y="6324309"/>
                  <a:pt x="2138764" y="6324309"/>
                </a:cubicBezTo>
                <a:cubicBezTo>
                  <a:pt x="2144246" y="6324309"/>
                  <a:pt x="2148377" y="6325538"/>
                  <a:pt x="2151159" y="6327997"/>
                </a:cubicBezTo>
                <a:cubicBezTo>
                  <a:pt x="2153214" y="6329811"/>
                  <a:pt x="2154242" y="6332935"/>
                  <a:pt x="2154242" y="6337369"/>
                </a:cubicBezTo>
                <a:cubicBezTo>
                  <a:pt x="2154242" y="6337772"/>
                  <a:pt x="2154222" y="6338719"/>
                  <a:pt x="2154182" y="6340210"/>
                </a:cubicBezTo>
                <a:cubicBezTo>
                  <a:pt x="2150030" y="6341661"/>
                  <a:pt x="2143560" y="6342911"/>
                  <a:pt x="2134773" y="6343959"/>
                </a:cubicBezTo>
                <a:cubicBezTo>
                  <a:pt x="2130460" y="6344483"/>
                  <a:pt x="2127236" y="6345027"/>
                  <a:pt x="2125100" y="6345591"/>
                </a:cubicBezTo>
                <a:cubicBezTo>
                  <a:pt x="2122197" y="6346397"/>
                  <a:pt x="2119587" y="6347587"/>
                  <a:pt x="2117270" y="6349159"/>
                </a:cubicBezTo>
                <a:cubicBezTo>
                  <a:pt x="2114952" y="6350731"/>
                  <a:pt x="2113078" y="6352816"/>
                  <a:pt x="2111647" y="6355416"/>
                </a:cubicBezTo>
                <a:cubicBezTo>
                  <a:pt x="2110216" y="6358016"/>
                  <a:pt x="2109500" y="6360888"/>
                  <a:pt x="2109500" y="6364032"/>
                </a:cubicBezTo>
                <a:cubicBezTo>
                  <a:pt x="2109500" y="6369393"/>
                  <a:pt x="2111395" y="6373797"/>
                  <a:pt x="2115184" y="6377243"/>
                </a:cubicBezTo>
                <a:cubicBezTo>
                  <a:pt x="2118973" y="6380689"/>
                  <a:pt x="2124394" y="6382412"/>
                  <a:pt x="2131448" y="6382412"/>
                </a:cubicBezTo>
                <a:cubicBezTo>
                  <a:pt x="2135721" y="6382412"/>
                  <a:pt x="2139721" y="6381707"/>
                  <a:pt x="2143450" y="6380296"/>
                </a:cubicBezTo>
                <a:cubicBezTo>
                  <a:pt x="2147178" y="6378885"/>
                  <a:pt x="2151058" y="6376467"/>
                  <a:pt x="2155089" y="6373041"/>
                </a:cubicBezTo>
                <a:cubicBezTo>
                  <a:pt x="2155411" y="6376064"/>
                  <a:pt x="2156136" y="6378704"/>
                  <a:pt x="2157265" y="6380961"/>
                </a:cubicBezTo>
                <a:lnTo>
                  <a:pt x="2168632" y="6380961"/>
                </a:lnTo>
                <a:cubicBezTo>
                  <a:pt x="2167261" y="6378502"/>
                  <a:pt x="2166344" y="6375933"/>
                  <a:pt x="2165881" y="6373252"/>
                </a:cubicBezTo>
                <a:cubicBezTo>
                  <a:pt x="2165417" y="6370572"/>
                  <a:pt x="2165185" y="6364173"/>
                  <a:pt x="2165185" y="6354056"/>
                </a:cubicBezTo>
                <a:lnTo>
                  <a:pt x="2165185" y="6339545"/>
                </a:lnTo>
                <a:cubicBezTo>
                  <a:pt x="2165185" y="6334708"/>
                  <a:pt x="2165004" y="6331363"/>
                  <a:pt x="2164641" y="6329509"/>
                </a:cubicBezTo>
                <a:cubicBezTo>
                  <a:pt x="2163996" y="6326526"/>
                  <a:pt x="2162868" y="6324057"/>
                  <a:pt x="2161255" y="6322102"/>
                </a:cubicBezTo>
                <a:cubicBezTo>
                  <a:pt x="2159643" y="6320147"/>
                  <a:pt x="2157124" y="6318525"/>
                  <a:pt x="2153698" y="6317235"/>
                </a:cubicBezTo>
                <a:cubicBezTo>
                  <a:pt x="2150272" y="6315945"/>
                  <a:pt x="2145818" y="6315300"/>
                  <a:pt x="2140336" y="6315300"/>
                </a:cubicBezTo>
                <a:close/>
                <a:moveTo>
                  <a:pt x="2076744" y="6315300"/>
                </a:moveTo>
                <a:cubicBezTo>
                  <a:pt x="2067836" y="6315300"/>
                  <a:pt x="2061024" y="6318827"/>
                  <a:pt x="2056309" y="6325881"/>
                </a:cubicBezTo>
                <a:lnTo>
                  <a:pt x="2056309" y="6316751"/>
                </a:lnTo>
                <a:lnTo>
                  <a:pt x="2046514" y="6316751"/>
                </a:lnTo>
                <a:lnTo>
                  <a:pt x="2046514" y="6380961"/>
                </a:lnTo>
                <a:lnTo>
                  <a:pt x="2057397" y="6380961"/>
                </a:lnTo>
                <a:lnTo>
                  <a:pt x="2057397" y="6345894"/>
                </a:lnTo>
                <a:cubicBezTo>
                  <a:pt x="2057397" y="6337671"/>
                  <a:pt x="2059079" y="6332088"/>
                  <a:pt x="2062445" y="6329146"/>
                </a:cubicBezTo>
                <a:cubicBezTo>
                  <a:pt x="2065811" y="6326203"/>
                  <a:pt x="2069811" y="6324732"/>
                  <a:pt x="2074447" y="6324732"/>
                </a:cubicBezTo>
                <a:cubicBezTo>
                  <a:pt x="2077349" y="6324732"/>
                  <a:pt x="2079878" y="6325387"/>
                  <a:pt x="2082035" y="6326697"/>
                </a:cubicBezTo>
                <a:cubicBezTo>
                  <a:pt x="2084191" y="6328007"/>
                  <a:pt x="2085692" y="6329761"/>
                  <a:pt x="2086539" y="6331957"/>
                </a:cubicBezTo>
                <a:cubicBezTo>
                  <a:pt x="2087385" y="6334154"/>
                  <a:pt x="2087809" y="6337469"/>
                  <a:pt x="2087809" y="6341903"/>
                </a:cubicBezTo>
                <a:lnTo>
                  <a:pt x="2087809" y="6380961"/>
                </a:lnTo>
                <a:lnTo>
                  <a:pt x="2098692" y="6380961"/>
                </a:lnTo>
                <a:lnTo>
                  <a:pt x="2098692" y="6341480"/>
                </a:lnTo>
                <a:cubicBezTo>
                  <a:pt x="2098692" y="6336441"/>
                  <a:pt x="2098490" y="6332915"/>
                  <a:pt x="2098087" y="6330899"/>
                </a:cubicBezTo>
                <a:cubicBezTo>
                  <a:pt x="2097442" y="6327796"/>
                  <a:pt x="2096314" y="6325115"/>
                  <a:pt x="2094702" y="6322858"/>
                </a:cubicBezTo>
                <a:cubicBezTo>
                  <a:pt x="2093089" y="6320601"/>
                  <a:pt x="2090661" y="6318777"/>
                  <a:pt x="2087416" y="6317386"/>
                </a:cubicBezTo>
                <a:cubicBezTo>
                  <a:pt x="2084171" y="6315995"/>
                  <a:pt x="2080614" y="6315300"/>
                  <a:pt x="2076744" y="6315300"/>
                </a:cubicBezTo>
                <a:close/>
                <a:moveTo>
                  <a:pt x="2010069" y="6315300"/>
                </a:moveTo>
                <a:cubicBezTo>
                  <a:pt x="2001161" y="6315300"/>
                  <a:pt x="1994349" y="6318827"/>
                  <a:pt x="1989633" y="6325881"/>
                </a:cubicBezTo>
                <a:lnTo>
                  <a:pt x="1989633" y="6316751"/>
                </a:lnTo>
                <a:lnTo>
                  <a:pt x="1979839" y="6316751"/>
                </a:lnTo>
                <a:lnTo>
                  <a:pt x="1979839" y="6380961"/>
                </a:lnTo>
                <a:lnTo>
                  <a:pt x="1990722" y="6380961"/>
                </a:lnTo>
                <a:lnTo>
                  <a:pt x="1990722" y="6345894"/>
                </a:lnTo>
                <a:cubicBezTo>
                  <a:pt x="1990722" y="6337671"/>
                  <a:pt x="1992405" y="6332088"/>
                  <a:pt x="1995770" y="6329146"/>
                </a:cubicBezTo>
                <a:cubicBezTo>
                  <a:pt x="1999136" y="6326203"/>
                  <a:pt x="2003136" y="6324732"/>
                  <a:pt x="2007772" y="6324732"/>
                </a:cubicBezTo>
                <a:cubicBezTo>
                  <a:pt x="2010674" y="6324732"/>
                  <a:pt x="2013203" y="6325387"/>
                  <a:pt x="2015360" y="6326697"/>
                </a:cubicBezTo>
                <a:cubicBezTo>
                  <a:pt x="2017516" y="6328007"/>
                  <a:pt x="2019018" y="6329761"/>
                  <a:pt x="2019864" y="6331957"/>
                </a:cubicBezTo>
                <a:cubicBezTo>
                  <a:pt x="2020710" y="6334154"/>
                  <a:pt x="2021134" y="6337469"/>
                  <a:pt x="2021134" y="6341903"/>
                </a:cubicBezTo>
                <a:lnTo>
                  <a:pt x="2021134" y="6380961"/>
                </a:lnTo>
                <a:lnTo>
                  <a:pt x="2032017" y="6380961"/>
                </a:lnTo>
                <a:lnTo>
                  <a:pt x="2032017" y="6341480"/>
                </a:lnTo>
                <a:cubicBezTo>
                  <a:pt x="2032017" y="6336441"/>
                  <a:pt x="2031815" y="6332915"/>
                  <a:pt x="2031412" y="6330899"/>
                </a:cubicBezTo>
                <a:cubicBezTo>
                  <a:pt x="2030767" y="6327796"/>
                  <a:pt x="2029639" y="6325115"/>
                  <a:pt x="2028026" y="6322858"/>
                </a:cubicBezTo>
                <a:cubicBezTo>
                  <a:pt x="2026414" y="6320601"/>
                  <a:pt x="2023985" y="6318777"/>
                  <a:pt x="2020741" y="6317386"/>
                </a:cubicBezTo>
                <a:cubicBezTo>
                  <a:pt x="2017496" y="6315995"/>
                  <a:pt x="2013939" y="6315300"/>
                  <a:pt x="2010069" y="6315300"/>
                </a:cubicBezTo>
                <a:close/>
                <a:moveTo>
                  <a:pt x="1939525" y="6315300"/>
                </a:moveTo>
                <a:cubicBezTo>
                  <a:pt x="1930657" y="6315300"/>
                  <a:pt x="1923442" y="6318283"/>
                  <a:pt x="1917880" y="6324248"/>
                </a:cubicBezTo>
                <a:cubicBezTo>
                  <a:pt x="1912317" y="6330214"/>
                  <a:pt x="1909536" y="6338598"/>
                  <a:pt x="1909536" y="6349400"/>
                </a:cubicBezTo>
                <a:cubicBezTo>
                  <a:pt x="1909536" y="6359840"/>
                  <a:pt x="1912287" y="6367952"/>
                  <a:pt x="1917789" y="6373736"/>
                </a:cubicBezTo>
                <a:cubicBezTo>
                  <a:pt x="1923291" y="6379520"/>
                  <a:pt x="1930738" y="6382412"/>
                  <a:pt x="1940129" y="6382412"/>
                </a:cubicBezTo>
                <a:cubicBezTo>
                  <a:pt x="1947586" y="6382412"/>
                  <a:pt x="1953713" y="6380598"/>
                  <a:pt x="1958510" y="6376971"/>
                </a:cubicBezTo>
                <a:cubicBezTo>
                  <a:pt x="1963306" y="6373343"/>
                  <a:pt x="1966591" y="6368244"/>
                  <a:pt x="1968365" y="6361674"/>
                </a:cubicBezTo>
                <a:lnTo>
                  <a:pt x="1957119" y="6360283"/>
                </a:lnTo>
                <a:cubicBezTo>
                  <a:pt x="1955466" y="6364879"/>
                  <a:pt x="1953229" y="6368224"/>
                  <a:pt x="1950408" y="6370320"/>
                </a:cubicBezTo>
                <a:cubicBezTo>
                  <a:pt x="1947586" y="6372416"/>
                  <a:pt x="1944180" y="6373464"/>
                  <a:pt x="1940190" y="6373464"/>
                </a:cubicBezTo>
                <a:cubicBezTo>
                  <a:pt x="1934829" y="6373464"/>
                  <a:pt x="1930355" y="6371590"/>
                  <a:pt x="1926767" y="6367841"/>
                </a:cubicBezTo>
                <a:cubicBezTo>
                  <a:pt x="1923180" y="6364093"/>
                  <a:pt x="1921185" y="6358691"/>
                  <a:pt x="1920782" y="6351637"/>
                </a:cubicBezTo>
                <a:lnTo>
                  <a:pt x="1968667" y="6351637"/>
                </a:lnTo>
                <a:cubicBezTo>
                  <a:pt x="1968707" y="6350348"/>
                  <a:pt x="1968728" y="6349380"/>
                  <a:pt x="1968728" y="6348735"/>
                </a:cubicBezTo>
                <a:cubicBezTo>
                  <a:pt x="1968728" y="6338134"/>
                  <a:pt x="1966007" y="6329912"/>
                  <a:pt x="1960565" y="6324067"/>
                </a:cubicBezTo>
                <a:cubicBezTo>
                  <a:pt x="1955124" y="6318222"/>
                  <a:pt x="1948110" y="6315300"/>
                  <a:pt x="1939525" y="6315300"/>
                </a:cubicBezTo>
                <a:close/>
                <a:moveTo>
                  <a:pt x="1805752" y="6315300"/>
                </a:moveTo>
                <a:cubicBezTo>
                  <a:pt x="1800230" y="6315300"/>
                  <a:pt x="1795120" y="6316600"/>
                  <a:pt x="1790425" y="6319200"/>
                </a:cubicBezTo>
                <a:cubicBezTo>
                  <a:pt x="1785729" y="6321800"/>
                  <a:pt x="1782232" y="6325700"/>
                  <a:pt x="1779935" y="6330899"/>
                </a:cubicBezTo>
                <a:cubicBezTo>
                  <a:pt x="1777637" y="6336099"/>
                  <a:pt x="1776488" y="6342165"/>
                  <a:pt x="1776488" y="6349098"/>
                </a:cubicBezTo>
                <a:cubicBezTo>
                  <a:pt x="1776488" y="6359820"/>
                  <a:pt x="1779159" y="6368053"/>
                  <a:pt x="1784499" y="6373797"/>
                </a:cubicBezTo>
                <a:cubicBezTo>
                  <a:pt x="1789840" y="6379540"/>
                  <a:pt x="1796904" y="6382412"/>
                  <a:pt x="1805691" y="6382412"/>
                </a:cubicBezTo>
                <a:cubicBezTo>
                  <a:pt x="1812705" y="6382412"/>
                  <a:pt x="1818620" y="6380326"/>
                  <a:pt x="1823437" y="6376155"/>
                </a:cubicBezTo>
                <a:cubicBezTo>
                  <a:pt x="1828253" y="6371983"/>
                  <a:pt x="1831246" y="6366209"/>
                  <a:pt x="1832415" y="6358832"/>
                </a:cubicBezTo>
                <a:lnTo>
                  <a:pt x="1821714" y="6357442"/>
                </a:lnTo>
                <a:cubicBezTo>
                  <a:pt x="1820948" y="6362883"/>
                  <a:pt x="1819134" y="6366914"/>
                  <a:pt x="1816272" y="6369534"/>
                </a:cubicBezTo>
                <a:cubicBezTo>
                  <a:pt x="1813410" y="6372154"/>
                  <a:pt x="1809843" y="6373464"/>
                  <a:pt x="1805570" y="6373464"/>
                </a:cubicBezTo>
                <a:cubicBezTo>
                  <a:pt x="1800250" y="6373464"/>
                  <a:pt x="1795937" y="6371509"/>
                  <a:pt x="1792632" y="6367599"/>
                </a:cubicBezTo>
                <a:cubicBezTo>
                  <a:pt x="1789326" y="6363689"/>
                  <a:pt x="1787674" y="6357422"/>
                  <a:pt x="1787674" y="6348796"/>
                </a:cubicBezTo>
                <a:cubicBezTo>
                  <a:pt x="1787674" y="6340291"/>
                  <a:pt x="1789387" y="6334073"/>
                  <a:pt x="1792813" y="6330143"/>
                </a:cubicBezTo>
                <a:cubicBezTo>
                  <a:pt x="1796239" y="6326213"/>
                  <a:pt x="1800693" y="6324248"/>
                  <a:pt x="1806175" y="6324248"/>
                </a:cubicBezTo>
                <a:cubicBezTo>
                  <a:pt x="1809803" y="6324248"/>
                  <a:pt x="1812896" y="6325337"/>
                  <a:pt x="1815456" y="6327513"/>
                </a:cubicBezTo>
                <a:cubicBezTo>
                  <a:pt x="1818015" y="6329690"/>
                  <a:pt x="1819799" y="6332935"/>
                  <a:pt x="1820806" y="6337248"/>
                </a:cubicBezTo>
                <a:lnTo>
                  <a:pt x="1831387" y="6335615"/>
                </a:lnTo>
                <a:cubicBezTo>
                  <a:pt x="1830138" y="6329126"/>
                  <a:pt x="1827296" y="6324117"/>
                  <a:pt x="1822862" y="6320591"/>
                </a:cubicBezTo>
                <a:cubicBezTo>
                  <a:pt x="1818428" y="6317064"/>
                  <a:pt x="1812725" y="6315300"/>
                  <a:pt x="1805752" y="6315300"/>
                </a:cubicBezTo>
                <a:close/>
                <a:moveTo>
                  <a:pt x="1515165" y="6315300"/>
                </a:moveTo>
                <a:cubicBezTo>
                  <a:pt x="1511819" y="6315300"/>
                  <a:pt x="1508685" y="6315733"/>
                  <a:pt x="1505763" y="6316600"/>
                </a:cubicBezTo>
                <a:cubicBezTo>
                  <a:pt x="1502840" y="6317467"/>
                  <a:pt x="1500533" y="6318525"/>
                  <a:pt x="1498840" y="6319774"/>
                </a:cubicBezTo>
                <a:cubicBezTo>
                  <a:pt x="1496583" y="6321387"/>
                  <a:pt x="1494799" y="6323412"/>
                  <a:pt x="1493489" y="6325851"/>
                </a:cubicBezTo>
                <a:cubicBezTo>
                  <a:pt x="1492179" y="6328289"/>
                  <a:pt x="1491524" y="6330939"/>
                  <a:pt x="1491524" y="6333801"/>
                </a:cubicBezTo>
                <a:cubicBezTo>
                  <a:pt x="1491524" y="6336945"/>
                  <a:pt x="1492320" y="6339817"/>
                  <a:pt x="1493913" y="6342417"/>
                </a:cubicBezTo>
                <a:cubicBezTo>
                  <a:pt x="1495505" y="6345017"/>
                  <a:pt x="1497843" y="6347052"/>
                  <a:pt x="1500926" y="6348524"/>
                </a:cubicBezTo>
                <a:cubicBezTo>
                  <a:pt x="1504009" y="6349995"/>
                  <a:pt x="1509542" y="6351738"/>
                  <a:pt x="1517523" y="6353754"/>
                </a:cubicBezTo>
                <a:cubicBezTo>
                  <a:pt x="1523448" y="6355245"/>
                  <a:pt x="1527156" y="6356474"/>
                  <a:pt x="1528648" y="6357442"/>
                </a:cubicBezTo>
                <a:cubicBezTo>
                  <a:pt x="1530784" y="6358853"/>
                  <a:pt x="1531852" y="6360787"/>
                  <a:pt x="1531852" y="6363246"/>
                </a:cubicBezTo>
                <a:cubicBezTo>
                  <a:pt x="1531852" y="6365987"/>
                  <a:pt x="1530643" y="6368375"/>
                  <a:pt x="1528224" y="6370411"/>
                </a:cubicBezTo>
                <a:cubicBezTo>
                  <a:pt x="1525806" y="6372446"/>
                  <a:pt x="1522097" y="6373464"/>
                  <a:pt x="1517100" y="6373464"/>
                </a:cubicBezTo>
                <a:cubicBezTo>
                  <a:pt x="1512141" y="6373464"/>
                  <a:pt x="1508282" y="6372315"/>
                  <a:pt x="1505521" y="6370018"/>
                </a:cubicBezTo>
                <a:cubicBezTo>
                  <a:pt x="1502760" y="6367720"/>
                  <a:pt x="1501077" y="6364415"/>
                  <a:pt x="1500472" y="6360102"/>
                </a:cubicBezTo>
                <a:lnTo>
                  <a:pt x="1489710" y="6361795"/>
                </a:lnTo>
                <a:cubicBezTo>
                  <a:pt x="1490920" y="6368607"/>
                  <a:pt x="1493711" y="6373746"/>
                  <a:pt x="1498084" y="6377213"/>
                </a:cubicBezTo>
                <a:cubicBezTo>
                  <a:pt x="1502458" y="6380679"/>
                  <a:pt x="1508816" y="6382412"/>
                  <a:pt x="1517160" y="6382412"/>
                </a:cubicBezTo>
                <a:cubicBezTo>
                  <a:pt x="1522198" y="6382412"/>
                  <a:pt x="1526713" y="6381536"/>
                  <a:pt x="1530703" y="6379782"/>
                </a:cubicBezTo>
                <a:cubicBezTo>
                  <a:pt x="1534694" y="6378029"/>
                  <a:pt x="1537747" y="6375550"/>
                  <a:pt x="1539863" y="6372345"/>
                </a:cubicBezTo>
                <a:cubicBezTo>
                  <a:pt x="1541979" y="6369141"/>
                  <a:pt x="1543037" y="6365725"/>
                  <a:pt x="1543037" y="6362097"/>
                </a:cubicBezTo>
                <a:cubicBezTo>
                  <a:pt x="1543037" y="6358389"/>
                  <a:pt x="1542171" y="6355285"/>
                  <a:pt x="1540437" y="6352786"/>
                </a:cubicBezTo>
                <a:cubicBezTo>
                  <a:pt x="1538704" y="6350287"/>
                  <a:pt x="1536316" y="6348383"/>
                  <a:pt x="1533273" y="6347073"/>
                </a:cubicBezTo>
                <a:cubicBezTo>
                  <a:pt x="1530230" y="6345763"/>
                  <a:pt x="1524859" y="6344080"/>
                  <a:pt x="1517160" y="6342024"/>
                </a:cubicBezTo>
                <a:cubicBezTo>
                  <a:pt x="1511839" y="6340573"/>
                  <a:pt x="1508635" y="6339646"/>
                  <a:pt x="1507547" y="6339243"/>
                </a:cubicBezTo>
                <a:cubicBezTo>
                  <a:pt x="1505652" y="6338477"/>
                  <a:pt x="1504261" y="6337510"/>
                  <a:pt x="1503375" y="6336341"/>
                </a:cubicBezTo>
                <a:cubicBezTo>
                  <a:pt x="1502488" y="6335212"/>
                  <a:pt x="1502044" y="6333942"/>
                  <a:pt x="1502044" y="6332532"/>
                </a:cubicBezTo>
                <a:cubicBezTo>
                  <a:pt x="1502044" y="6330315"/>
                  <a:pt x="1503113" y="6328380"/>
                  <a:pt x="1505249" y="6326727"/>
                </a:cubicBezTo>
                <a:cubicBezTo>
                  <a:pt x="1507385" y="6325075"/>
                  <a:pt x="1510953" y="6324248"/>
                  <a:pt x="1515951" y="6324248"/>
                </a:cubicBezTo>
                <a:cubicBezTo>
                  <a:pt x="1520183" y="6324248"/>
                  <a:pt x="1523458" y="6325176"/>
                  <a:pt x="1525776" y="6327030"/>
                </a:cubicBezTo>
                <a:cubicBezTo>
                  <a:pt x="1528093" y="6328884"/>
                  <a:pt x="1529494" y="6331463"/>
                  <a:pt x="1529978" y="6334769"/>
                </a:cubicBezTo>
                <a:lnTo>
                  <a:pt x="1540619" y="6333318"/>
                </a:lnTo>
                <a:cubicBezTo>
                  <a:pt x="1539934" y="6329166"/>
                  <a:pt x="1538684" y="6325851"/>
                  <a:pt x="1536870" y="6323372"/>
                </a:cubicBezTo>
                <a:cubicBezTo>
                  <a:pt x="1535056" y="6320893"/>
                  <a:pt x="1532245" y="6318928"/>
                  <a:pt x="1528436" y="6317477"/>
                </a:cubicBezTo>
                <a:cubicBezTo>
                  <a:pt x="1524627" y="6316026"/>
                  <a:pt x="1520203" y="6315300"/>
                  <a:pt x="1515165" y="6315300"/>
                </a:cubicBezTo>
                <a:close/>
                <a:moveTo>
                  <a:pt x="1479544" y="6315300"/>
                </a:moveTo>
                <a:cubicBezTo>
                  <a:pt x="1477004" y="6315300"/>
                  <a:pt x="1474676" y="6316026"/>
                  <a:pt x="1472560" y="6317477"/>
                </a:cubicBezTo>
                <a:cubicBezTo>
                  <a:pt x="1470444" y="6318928"/>
                  <a:pt x="1468136" y="6321931"/>
                  <a:pt x="1465638" y="6326486"/>
                </a:cubicBezTo>
                <a:lnTo>
                  <a:pt x="1465638" y="6316751"/>
                </a:lnTo>
                <a:lnTo>
                  <a:pt x="1455843" y="6316751"/>
                </a:lnTo>
                <a:lnTo>
                  <a:pt x="1455843" y="6380961"/>
                </a:lnTo>
                <a:lnTo>
                  <a:pt x="1466726" y="6380961"/>
                </a:lnTo>
                <a:lnTo>
                  <a:pt x="1466726" y="6347345"/>
                </a:lnTo>
                <a:cubicBezTo>
                  <a:pt x="1466726" y="6342750"/>
                  <a:pt x="1467330" y="6338517"/>
                  <a:pt x="1468540" y="6334648"/>
                </a:cubicBezTo>
                <a:cubicBezTo>
                  <a:pt x="1469346" y="6332108"/>
                  <a:pt x="1470696" y="6330123"/>
                  <a:pt x="1472590" y="6328692"/>
                </a:cubicBezTo>
                <a:cubicBezTo>
                  <a:pt x="1474485" y="6327261"/>
                  <a:pt x="1476621" y="6326546"/>
                  <a:pt x="1479000" y="6326546"/>
                </a:cubicBezTo>
                <a:cubicBezTo>
                  <a:pt x="1481660" y="6326546"/>
                  <a:pt x="1484320" y="6327332"/>
                  <a:pt x="1486980" y="6328904"/>
                </a:cubicBezTo>
                <a:lnTo>
                  <a:pt x="1490729" y="6318807"/>
                </a:lnTo>
                <a:cubicBezTo>
                  <a:pt x="1486940" y="6316469"/>
                  <a:pt x="1483212" y="6315300"/>
                  <a:pt x="1479544" y="6315300"/>
                </a:cubicBezTo>
                <a:close/>
                <a:moveTo>
                  <a:pt x="1416436" y="6315300"/>
                </a:moveTo>
                <a:cubicBezTo>
                  <a:pt x="1410914" y="6315300"/>
                  <a:pt x="1406057" y="6316056"/>
                  <a:pt x="1401865" y="6317567"/>
                </a:cubicBezTo>
                <a:cubicBezTo>
                  <a:pt x="1397673" y="6319079"/>
                  <a:pt x="1394468" y="6321235"/>
                  <a:pt x="1392251" y="6324037"/>
                </a:cubicBezTo>
                <a:cubicBezTo>
                  <a:pt x="1390034" y="6326838"/>
                  <a:pt x="1388442" y="6330516"/>
                  <a:pt x="1387475" y="6335071"/>
                </a:cubicBezTo>
                <a:lnTo>
                  <a:pt x="1398116" y="6336522"/>
                </a:lnTo>
                <a:cubicBezTo>
                  <a:pt x="1399285" y="6331967"/>
                  <a:pt x="1401089" y="6328793"/>
                  <a:pt x="1403527" y="6326999"/>
                </a:cubicBezTo>
                <a:cubicBezTo>
                  <a:pt x="1405966" y="6325206"/>
                  <a:pt x="1409745" y="6324309"/>
                  <a:pt x="1414864" y="6324309"/>
                </a:cubicBezTo>
                <a:cubicBezTo>
                  <a:pt x="1420345" y="6324309"/>
                  <a:pt x="1424477" y="6325538"/>
                  <a:pt x="1427258" y="6327997"/>
                </a:cubicBezTo>
                <a:cubicBezTo>
                  <a:pt x="1429314" y="6329811"/>
                  <a:pt x="1430342" y="6332935"/>
                  <a:pt x="1430342" y="6337369"/>
                </a:cubicBezTo>
                <a:cubicBezTo>
                  <a:pt x="1430342" y="6337772"/>
                  <a:pt x="1430322" y="6338719"/>
                  <a:pt x="1430281" y="6340210"/>
                </a:cubicBezTo>
                <a:cubicBezTo>
                  <a:pt x="1426130" y="6341661"/>
                  <a:pt x="1419660" y="6342911"/>
                  <a:pt x="1410873" y="6343959"/>
                </a:cubicBezTo>
                <a:cubicBezTo>
                  <a:pt x="1406561" y="6344483"/>
                  <a:pt x="1403336" y="6345027"/>
                  <a:pt x="1401199" y="6345591"/>
                </a:cubicBezTo>
                <a:cubicBezTo>
                  <a:pt x="1398297" y="6346397"/>
                  <a:pt x="1395687" y="6347587"/>
                  <a:pt x="1393370" y="6349159"/>
                </a:cubicBezTo>
                <a:cubicBezTo>
                  <a:pt x="1391052" y="6350731"/>
                  <a:pt x="1389178" y="6352816"/>
                  <a:pt x="1387747" y="6355416"/>
                </a:cubicBezTo>
                <a:cubicBezTo>
                  <a:pt x="1386316" y="6358016"/>
                  <a:pt x="1385600" y="6360888"/>
                  <a:pt x="1385600" y="6364032"/>
                </a:cubicBezTo>
                <a:cubicBezTo>
                  <a:pt x="1385600" y="6369393"/>
                  <a:pt x="1387495" y="6373797"/>
                  <a:pt x="1391284" y="6377243"/>
                </a:cubicBezTo>
                <a:cubicBezTo>
                  <a:pt x="1395073" y="6380689"/>
                  <a:pt x="1400494" y="6382412"/>
                  <a:pt x="1407548" y="6382412"/>
                </a:cubicBezTo>
                <a:cubicBezTo>
                  <a:pt x="1411821" y="6382412"/>
                  <a:pt x="1415821" y="6381707"/>
                  <a:pt x="1419550" y="6380296"/>
                </a:cubicBezTo>
                <a:cubicBezTo>
                  <a:pt x="1423278" y="6378885"/>
                  <a:pt x="1427158" y="6376467"/>
                  <a:pt x="1431188" y="6373041"/>
                </a:cubicBezTo>
                <a:cubicBezTo>
                  <a:pt x="1431511" y="6376064"/>
                  <a:pt x="1432236" y="6378704"/>
                  <a:pt x="1433365" y="6380961"/>
                </a:cubicBezTo>
                <a:lnTo>
                  <a:pt x="1444732" y="6380961"/>
                </a:lnTo>
                <a:cubicBezTo>
                  <a:pt x="1443361" y="6378502"/>
                  <a:pt x="1442444" y="6375933"/>
                  <a:pt x="1441981" y="6373252"/>
                </a:cubicBezTo>
                <a:cubicBezTo>
                  <a:pt x="1441517" y="6370572"/>
                  <a:pt x="1441285" y="6364173"/>
                  <a:pt x="1441285" y="6354056"/>
                </a:cubicBezTo>
                <a:lnTo>
                  <a:pt x="1441285" y="6339545"/>
                </a:lnTo>
                <a:cubicBezTo>
                  <a:pt x="1441285" y="6334708"/>
                  <a:pt x="1441104" y="6331363"/>
                  <a:pt x="1440741" y="6329509"/>
                </a:cubicBezTo>
                <a:cubicBezTo>
                  <a:pt x="1440096" y="6326526"/>
                  <a:pt x="1438968" y="6324057"/>
                  <a:pt x="1437355" y="6322102"/>
                </a:cubicBezTo>
                <a:cubicBezTo>
                  <a:pt x="1435743" y="6320147"/>
                  <a:pt x="1433224" y="6318525"/>
                  <a:pt x="1429798" y="6317235"/>
                </a:cubicBezTo>
                <a:cubicBezTo>
                  <a:pt x="1426372" y="6315945"/>
                  <a:pt x="1421917" y="6315300"/>
                  <a:pt x="1416436" y="6315300"/>
                </a:cubicBezTo>
                <a:close/>
                <a:moveTo>
                  <a:pt x="1167698" y="6315300"/>
                </a:moveTo>
                <a:cubicBezTo>
                  <a:pt x="1159757" y="6315300"/>
                  <a:pt x="1153026" y="6317678"/>
                  <a:pt x="1147503" y="6322435"/>
                </a:cubicBezTo>
                <a:cubicBezTo>
                  <a:pt x="1140893" y="6328158"/>
                  <a:pt x="1137588" y="6336965"/>
                  <a:pt x="1137588" y="6348856"/>
                </a:cubicBezTo>
                <a:cubicBezTo>
                  <a:pt x="1137588" y="6359699"/>
                  <a:pt x="1140359" y="6368002"/>
                  <a:pt x="1145901" y="6373766"/>
                </a:cubicBezTo>
                <a:cubicBezTo>
                  <a:pt x="1151443" y="6379530"/>
                  <a:pt x="1158709" y="6382412"/>
                  <a:pt x="1167698" y="6382412"/>
                </a:cubicBezTo>
                <a:cubicBezTo>
                  <a:pt x="1173300" y="6382412"/>
                  <a:pt x="1178470" y="6381102"/>
                  <a:pt x="1183206" y="6378482"/>
                </a:cubicBezTo>
                <a:cubicBezTo>
                  <a:pt x="1187942" y="6375862"/>
                  <a:pt x="1191550" y="6372184"/>
                  <a:pt x="1194028" y="6367448"/>
                </a:cubicBezTo>
                <a:cubicBezTo>
                  <a:pt x="1196507" y="6362712"/>
                  <a:pt x="1197747" y="6356212"/>
                  <a:pt x="1197747" y="6347949"/>
                </a:cubicBezTo>
                <a:cubicBezTo>
                  <a:pt x="1197747" y="6337751"/>
                  <a:pt x="1194945" y="6329761"/>
                  <a:pt x="1189343" y="6323976"/>
                </a:cubicBezTo>
                <a:cubicBezTo>
                  <a:pt x="1183740" y="6318192"/>
                  <a:pt x="1176525" y="6315300"/>
                  <a:pt x="1167698" y="6315300"/>
                </a:cubicBezTo>
                <a:close/>
                <a:moveTo>
                  <a:pt x="1057965" y="6315300"/>
                </a:moveTo>
                <a:cubicBezTo>
                  <a:pt x="1054619" y="6315300"/>
                  <a:pt x="1051485" y="6315733"/>
                  <a:pt x="1048563" y="6316600"/>
                </a:cubicBezTo>
                <a:cubicBezTo>
                  <a:pt x="1045641" y="6317467"/>
                  <a:pt x="1043333" y="6318525"/>
                  <a:pt x="1041640" y="6319774"/>
                </a:cubicBezTo>
                <a:cubicBezTo>
                  <a:pt x="1039383" y="6321387"/>
                  <a:pt x="1037599" y="6323412"/>
                  <a:pt x="1036289" y="6325851"/>
                </a:cubicBezTo>
                <a:cubicBezTo>
                  <a:pt x="1034979" y="6328289"/>
                  <a:pt x="1034324" y="6330939"/>
                  <a:pt x="1034324" y="6333801"/>
                </a:cubicBezTo>
                <a:cubicBezTo>
                  <a:pt x="1034324" y="6336945"/>
                  <a:pt x="1035120" y="6339817"/>
                  <a:pt x="1036712" y="6342417"/>
                </a:cubicBezTo>
                <a:cubicBezTo>
                  <a:pt x="1038304" y="6345017"/>
                  <a:pt x="1040642" y="6347052"/>
                  <a:pt x="1043726" y="6348524"/>
                </a:cubicBezTo>
                <a:cubicBezTo>
                  <a:pt x="1046809" y="6349995"/>
                  <a:pt x="1052342" y="6351738"/>
                  <a:pt x="1060323" y="6353754"/>
                </a:cubicBezTo>
                <a:cubicBezTo>
                  <a:pt x="1066248" y="6355245"/>
                  <a:pt x="1069956" y="6356474"/>
                  <a:pt x="1071447" y="6357442"/>
                </a:cubicBezTo>
                <a:cubicBezTo>
                  <a:pt x="1073584" y="6358853"/>
                  <a:pt x="1074652" y="6360787"/>
                  <a:pt x="1074652" y="6363246"/>
                </a:cubicBezTo>
                <a:cubicBezTo>
                  <a:pt x="1074652" y="6365987"/>
                  <a:pt x="1073443" y="6368375"/>
                  <a:pt x="1071024" y="6370411"/>
                </a:cubicBezTo>
                <a:cubicBezTo>
                  <a:pt x="1068606" y="6372446"/>
                  <a:pt x="1064898" y="6373464"/>
                  <a:pt x="1059899" y="6373464"/>
                </a:cubicBezTo>
                <a:cubicBezTo>
                  <a:pt x="1054942" y="6373464"/>
                  <a:pt x="1051082" y="6372315"/>
                  <a:pt x="1048321" y="6370018"/>
                </a:cubicBezTo>
                <a:cubicBezTo>
                  <a:pt x="1045560" y="6367720"/>
                  <a:pt x="1043877" y="6364415"/>
                  <a:pt x="1043272" y="6360102"/>
                </a:cubicBezTo>
                <a:lnTo>
                  <a:pt x="1032510" y="6361795"/>
                </a:lnTo>
                <a:cubicBezTo>
                  <a:pt x="1033720" y="6368607"/>
                  <a:pt x="1036511" y="6373746"/>
                  <a:pt x="1040884" y="6377213"/>
                </a:cubicBezTo>
                <a:cubicBezTo>
                  <a:pt x="1045258" y="6380679"/>
                  <a:pt x="1051616" y="6382412"/>
                  <a:pt x="1059960" y="6382412"/>
                </a:cubicBezTo>
                <a:cubicBezTo>
                  <a:pt x="1064998" y="6382412"/>
                  <a:pt x="1069513" y="6381536"/>
                  <a:pt x="1073503" y="6379782"/>
                </a:cubicBezTo>
                <a:cubicBezTo>
                  <a:pt x="1077494" y="6378029"/>
                  <a:pt x="1080547" y="6375550"/>
                  <a:pt x="1082663" y="6372345"/>
                </a:cubicBezTo>
                <a:cubicBezTo>
                  <a:pt x="1084779" y="6369141"/>
                  <a:pt x="1085837" y="6365725"/>
                  <a:pt x="1085837" y="6362097"/>
                </a:cubicBezTo>
                <a:cubicBezTo>
                  <a:pt x="1085837" y="6358389"/>
                  <a:pt x="1084971" y="6355285"/>
                  <a:pt x="1083237" y="6352786"/>
                </a:cubicBezTo>
                <a:cubicBezTo>
                  <a:pt x="1081504" y="6350287"/>
                  <a:pt x="1079116" y="6348383"/>
                  <a:pt x="1076073" y="6347073"/>
                </a:cubicBezTo>
                <a:cubicBezTo>
                  <a:pt x="1073030" y="6345763"/>
                  <a:pt x="1067659" y="6344080"/>
                  <a:pt x="1059960" y="6342024"/>
                </a:cubicBezTo>
                <a:cubicBezTo>
                  <a:pt x="1054639" y="6340573"/>
                  <a:pt x="1051435" y="6339646"/>
                  <a:pt x="1050346" y="6339243"/>
                </a:cubicBezTo>
                <a:cubicBezTo>
                  <a:pt x="1048452" y="6338477"/>
                  <a:pt x="1047061" y="6337510"/>
                  <a:pt x="1046175" y="6336341"/>
                </a:cubicBezTo>
                <a:cubicBezTo>
                  <a:pt x="1045288" y="6335212"/>
                  <a:pt x="1044844" y="6333942"/>
                  <a:pt x="1044844" y="6332532"/>
                </a:cubicBezTo>
                <a:cubicBezTo>
                  <a:pt x="1044844" y="6330315"/>
                  <a:pt x="1045913" y="6328380"/>
                  <a:pt x="1048049" y="6326727"/>
                </a:cubicBezTo>
                <a:cubicBezTo>
                  <a:pt x="1050185" y="6325075"/>
                  <a:pt x="1053753" y="6324248"/>
                  <a:pt x="1058751" y="6324248"/>
                </a:cubicBezTo>
                <a:cubicBezTo>
                  <a:pt x="1062983" y="6324248"/>
                  <a:pt x="1066258" y="6325176"/>
                  <a:pt x="1068576" y="6327030"/>
                </a:cubicBezTo>
                <a:cubicBezTo>
                  <a:pt x="1070893" y="6328884"/>
                  <a:pt x="1072294" y="6331463"/>
                  <a:pt x="1072778" y="6334769"/>
                </a:cubicBezTo>
                <a:lnTo>
                  <a:pt x="1083419" y="6333318"/>
                </a:lnTo>
                <a:cubicBezTo>
                  <a:pt x="1082734" y="6329166"/>
                  <a:pt x="1081484" y="6325851"/>
                  <a:pt x="1079670" y="6323372"/>
                </a:cubicBezTo>
                <a:cubicBezTo>
                  <a:pt x="1077856" y="6320893"/>
                  <a:pt x="1075045" y="6318928"/>
                  <a:pt x="1071236" y="6317477"/>
                </a:cubicBezTo>
                <a:cubicBezTo>
                  <a:pt x="1067427" y="6316026"/>
                  <a:pt x="1063003" y="6315300"/>
                  <a:pt x="1057965" y="6315300"/>
                </a:cubicBezTo>
                <a:close/>
                <a:moveTo>
                  <a:pt x="991290" y="6315300"/>
                </a:moveTo>
                <a:cubicBezTo>
                  <a:pt x="987944" y="6315300"/>
                  <a:pt x="984810" y="6315733"/>
                  <a:pt x="981888" y="6316600"/>
                </a:cubicBezTo>
                <a:cubicBezTo>
                  <a:pt x="978965" y="6317467"/>
                  <a:pt x="976658" y="6318525"/>
                  <a:pt x="974965" y="6319774"/>
                </a:cubicBezTo>
                <a:cubicBezTo>
                  <a:pt x="972708" y="6321387"/>
                  <a:pt x="970924" y="6323412"/>
                  <a:pt x="969614" y="6325851"/>
                </a:cubicBezTo>
                <a:cubicBezTo>
                  <a:pt x="968304" y="6328289"/>
                  <a:pt x="967649" y="6330939"/>
                  <a:pt x="967649" y="6333801"/>
                </a:cubicBezTo>
                <a:cubicBezTo>
                  <a:pt x="967649" y="6336945"/>
                  <a:pt x="968445" y="6339817"/>
                  <a:pt x="970037" y="6342417"/>
                </a:cubicBezTo>
                <a:cubicBezTo>
                  <a:pt x="971630" y="6345017"/>
                  <a:pt x="973967" y="6347052"/>
                  <a:pt x="977051" y="6348524"/>
                </a:cubicBezTo>
                <a:cubicBezTo>
                  <a:pt x="980134" y="6349995"/>
                  <a:pt x="985667" y="6351738"/>
                  <a:pt x="993648" y="6353754"/>
                </a:cubicBezTo>
                <a:cubicBezTo>
                  <a:pt x="999573" y="6355245"/>
                  <a:pt x="1003281" y="6356474"/>
                  <a:pt x="1004772" y="6357442"/>
                </a:cubicBezTo>
                <a:cubicBezTo>
                  <a:pt x="1006909" y="6358853"/>
                  <a:pt x="1007977" y="6360787"/>
                  <a:pt x="1007977" y="6363246"/>
                </a:cubicBezTo>
                <a:cubicBezTo>
                  <a:pt x="1007977" y="6365987"/>
                  <a:pt x="1006768" y="6368375"/>
                  <a:pt x="1004349" y="6370411"/>
                </a:cubicBezTo>
                <a:cubicBezTo>
                  <a:pt x="1001931" y="6372446"/>
                  <a:pt x="998222" y="6373464"/>
                  <a:pt x="993224" y="6373464"/>
                </a:cubicBezTo>
                <a:cubicBezTo>
                  <a:pt x="988266" y="6373464"/>
                  <a:pt x="984407" y="6372315"/>
                  <a:pt x="981646" y="6370018"/>
                </a:cubicBezTo>
                <a:cubicBezTo>
                  <a:pt x="978885" y="6367720"/>
                  <a:pt x="977202" y="6364415"/>
                  <a:pt x="976598" y="6360102"/>
                </a:cubicBezTo>
                <a:lnTo>
                  <a:pt x="965835" y="6361795"/>
                </a:lnTo>
                <a:cubicBezTo>
                  <a:pt x="967044" y="6368607"/>
                  <a:pt x="969836" y="6373746"/>
                  <a:pt x="974209" y="6377213"/>
                </a:cubicBezTo>
                <a:cubicBezTo>
                  <a:pt x="978583" y="6380679"/>
                  <a:pt x="984941" y="6382412"/>
                  <a:pt x="993285" y="6382412"/>
                </a:cubicBezTo>
                <a:cubicBezTo>
                  <a:pt x="998323" y="6382412"/>
                  <a:pt x="1002838" y="6381536"/>
                  <a:pt x="1006828" y="6379782"/>
                </a:cubicBezTo>
                <a:cubicBezTo>
                  <a:pt x="1010819" y="6378029"/>
                  <a:pt x="1013872" y="6375550"/>
                  <a:pt x="1015988" y="6372345"/>
                </a:cubicBezTo>
                <a:cubicBezTo>
                  <a:pt x="1018104" y="6369141"/>
                  <a:pt x="1019162" y="6365725"/>
                  <a:pt x="1019162" y="6362097"/>
                </a:cubicBezTo>
                <a:cubicBezTo>
                  <a:pt x="1019162" y="6358389"/>
                  <a:pt x="1018296" y="6355285"/>
                  <a:pt x="1016562" y="6352786"/>
                </a:cubicBezTo>
                <a:cubicBezTo>
                  <a:pt x="1014829" y="6350287"/>
                  <a:pt x="1012441" y="6348383"/>
                  <a:pt x="1009398" y="6347073"/>
                </a:cubicBezTo>
                <a:cubicBezTo>
                  <a:pt x="1006354" y="6345763"/>
                  <a:pt x="1000984" y="6344080"/>
                  <a:pt x="993285" y="6342024"/>
                </a:cubicBezTo>
                <a:cubicBezTo>
                  <a:pt x="987964" y="6340573"/>
                  <a:pt x="984760" y="6339646"/>
                  <a:pt x="983671" y="6339243"/>
                </a:cubicBezTo>
                <a:cubicBezTo>
                  <a:pt x="981777" y="6338477"/>
                  <a:pt x="980386" y="6337510"/>
                  <a:pt x="979500" y="6336341"/>
                </a:cubicBezTo>
                <a:cubicBezTo>
                  <a:pt x="978613" y="6335212"/>
                  <a:pt x="978170" y="6333942"/>
                  <a:pt x="978170" y="6332532"/>
                </a:cubicBezTo>
                <a:cubicBezTo>
                  <a:pt x="978170" y="6330315"/>
                  <a:pt x="979238" y="6328380"/>
                  <a:pt x="981374" y="6326727"/>
                </a:cubicBezTo>
                <a:cubicBezTo>
                  <a:pt x="983510" y="6325075"/>
                  <a:pt x="987077" y="6324248"/>
                  <a:pt x="992076" y="6324248"/>
                </a:cubicBezTo>
                <a:cubicBezTo>
                  <a:pt x="996308" y="6324248"/>
                  <a:pt x="999583" y="6325176"/>
                  <a:pt x="1001900" y="6327030"/>
                </a:cubicBezTo>
                <a:cubicBezTo>
                  <a:pt x="1004218" y="6328884"/>
                  <a:pt x="1005619" y="6331463"/>
                  <a:pt x="1006103" y="6334769"/>
                </a:cubicBezTo>
                <a:lnTo>
                  <a:pt x="1016744" y="6333318"/>
                </a:lnTo>
                <a:cubicBezTo>
                  <a:pt x="1016059" y="6329166"/>
                  <a:pt x="1014809" y="6325851"/>
                  <a:pt x="1012995" y="6323372"/>
                </a:cubicBezTo>
                <a:cubicBezTo>
                  <a:pt x="1011181" y="6320893"/>
                  <a:pt x="1008370" y="6318928"/>
                  <a:pt x="1004561" y="6317477"/>
                </a:cubicBezTo>
                <a:cubicBezTo>
                  <a:pt x="1000752" y="6316026"/>
                  <a:pt x="996328" y="6315300"/>
                  <a:pt x="991290" y="6315300"/>
                </a:cubicBezTo>
                <a:close/>
                <a:moveTo>
                  <a:pt x="929875" y="6315300"/>
                </a:moveTo>
                <a:cubicBezTo>
                  <a:pt x="921007" y="6315300"/>
                  <a:pt x="913792" y="6318283"/>
                  <a:pt x="908229" y="6324248"/>
                </a:cubicBezTo>
                <a:cubicBezTo>
                  <a:pt x="902667" y="6330214"/>
                  <a:pt x="899886" y="6338598"/>
                  <a:pt x="899886" y="6349400"/>
                </a:cubicBezTo>
                <a:cubicBezTo>
                  <a:pt x="899886" y="6359840"/>
                  <a:pt x="902637" y="6367952"/>
                  <a:pt x="908139" y="6373736"/>
                </a:cubicBezTo>
                <a:cubicBezTo>
                  <a:pt x="913641" y="6379520"/>
                  <a:pt x="921088" y="6382412"/>
                  <a:pt x="930479" y="6382412"/>
                </a:cubicBezTo>
                <a:cubicBezTo>
                  <a:pt x="937936" y="6382412"/>
                  <a:pt x="944063" y="6380598"/>
                  <a:pt x="948860" y="6376971"/>
                </a:cubicBezTo>
                <a:cubicBezTo>
                  <a:pt x="953656" y="6373343"/>
                  <a:pt x="956941" y="6368244"/>
                  <a:pt x="958715" y="6361674"/>
                </a:cubicBezTo>
                <a:lnTo>
                  <a:pt x="947469" y="6360283"/>
                </a:lnTo>
                <a:cubicBezTo>
                  <a:pt x="945816" y="6364879"/>
                  <a:pt x="943579" y="6368224"/>
                  <a:pt x="940758" y="6370320"/>
                </a:cubicBezTo>
                <a:cubicBezTo>
                  <a:pt x="937936" y="6372416"/>
                  <a:pt x="934530" y="6373464"/>
                  <a:pt x="930540" y="6373464"/>
                </a:cubicBezTo>
                <a:cubicBezTo>
                  <a:pt x="925179" y="6373464"/>
                  <a:pt x="920705" y="6371590"/>
                  <a:pt x="917117" y="6367841"/>
                </a:cubicBezTo>
                <a:cubicBezTo>
                  <a:pt x="913530" y="6364093"/>
                  <a:pt x="911535" y="6358691"/>
                  <a:pt x="911132" y="6351637"/>
                </a:cubicBezTo>
                <a:lnTo>
                  <a:pt x="959017" y="6351637"/>
                </a:lnTo>
                <a:cubicBezTo>
                  <a:pt x="959057" y="6350348"/>
                  <a:pt x="959078" y="6349380"/>
                  <a:pt x="959078" y="6348735"/>
                </a:cubicBezTo>
                <a:cubicBezTo>
                  <a:pt x="959078" y="6338134"/>
                  <a:pt x="956357" y="6329912"/>
                  <a:pt x="950915" y="6324067"/>
                </a:cubicBezTo>
                <a:cubicBezTo>
                  <a:pt x="945474" y="6318222"/>
                  <a:pt x="938460" y="6315300"/>
                  <a:pt x="929875" y="6315300"/>
                </a:cubicBezTo>
                <a:close/>
                <a:moveTo>
                  <a:pt x="867069" y="6315300"/>
                </a:moveTo>
                <a:cubicBezTo>
                  <a:pt x="858161" y="6315300"/>
                  <a:pt x="851349" y="6318827"/>
                  <a:pt x="846633" y="6325881"/>
                </a:cubicBezTo>
                <a:lnTo>
                  <a:pt x="846633" y="6316751"/>
                </a:lnTo>
                <a:lnTo>
                  <a:pt x="836839" y="6316751"/>
                </a:lnTo>
                <a:lnTo>
                  <a:pt x="836839" y="6380961"/>
                </a:lnTo>
                <a:lnTo>
                  <a:pt x="847722" y="6380961"/>
                </a:lnTo>
                <a:lnTo>
                  <a:pt x="847722" y="6345894"/>
                </a:lnTo>
                <a:cubicBezTo>
                  <a:pt x="847722" y="6337671"/>
                  <a:pt x="849405" y="6332088"/>
                  <a:pt x="852770" y="6329146"/>
                </a:cubicBezTo>
                <a:cubicBezTo>
                  <a:pt x="856136" y="6326203"/>
                  <a:pt x="860136" y="6324732"/>
                  <a:pt x="864772" y="6324732"/>
                </a:cubicBezTo>
                <a:cubicBezTo>
                  <a:pt x="867674" y="6324732"/>
                  <a:pt x="870203" y="6325387"/>
                  <a:pt x="872360" y="6326697"/>
                </a:cubicBezTo>
                <a:cubicBezTo>
                  <a:pt x="874516" y="6328007"/>
                  <a:pt x="876018" y="6329761"/>
                  <a:pt x="876864" y="6331957"/>
                </a:cubicBezTo>
                <a:cubicBezTo>
                  <a:pt x="877710" y="6334154"/>
                  <a:pt x="878134" y="6337469"/>
                  <a:pt x="878134" y="6341903"/>
                </a:cubicBezTo>
                <a:lnTo>
                  <a:pt x="878134" y="6380961"/>
                </a:lnTo>
                <a:lnTo>
                  <a:pt x="889017" y="6380961"/>
                </a:lnTo>
                <a:lnTo>
                  <a:pt x="889017" y="6341480"/>
                </a:lnTo>
                <a:cubicBezTo>
                  <a:pt x="889017" y="6336441"/>
                  <a:pt x="888815" y="6332915"/>
                  <a:pt x="888412" y="6330899"/>
                </a:cubicBezTo>
                <a:cubicBezTo>
                  <a:pt x="887767" y="6327796"/>
                  <a:pt x="886639" y="6325115"/>
                  <a:pt x="885026" y="6322858"/>
                </a:cubicBezTo>
                <a:cubicBezTo>
                  <a:pt x="883414" y="6320601"/>
                  <a:pt x="880985" y="6318777"/>
                  <a:pt x="877741" y="6317386"/>
                </a:cubicBezTo>
                <a:cubicBezTo>
                  <a:pt x="874496" y="6315995"/>
                  <a:pt x="870939" y="6315300"/>
                  <a:pt x="867069" y="6315300"/>
                </a:cubicBezTo>
                <a:close/>
                <a:moveTo>
                  <a:pt x="762690" y="6315300"/>
                </a:moveTo>
                <a:cubicBezTo>
                  <a:pt x="759344" y="6315300"/>
                  <a:pt x="756210" y="6315733"/>
                  <a:pt x="753288" y="6316600"/>
                </a:cubicBezTo>
                <a:cubicBezTo>
                  <a:pt x="750366" y="6317467"/>
                  <a:pt x="748058" y="6318525"/>
                  <a:pt x="746365" y="6319774"/>
                </a:cubicBezTo>
                <a:cubicBezTo>
                  <a:pt x="744108" y="6321387"/>
                  <a:pt x="742324" y="6323412"/>
                  <a:pt x="741014" y="6325851"/>
                </a:cubicBezTo>
                <a:cubicBezTo>
                  <a:pt x="739704" y="6328289"/>
                  <a:pt x="739049" y="6330939"/>
                  <a:pt x="739049" y="6333801"/>
                </a:cubicBezTo>
                <a:cubicBezTo>
                  <a:pt x="739049" y="6336945"/>
                  <a:pt x="739845" y="6339817"/>
                  <a:pt x="741437" y="6342417"/>
                </a:cubicBezTo>
                <a:cubicBezTo>
                  <a:pt x="743030" y="6345017"/>
                  <a:pt x="745367" y="6347052"/>
                  <a:pt x="748451" y="6348524"/>
                </a:cubicBezTo>
                <a:cubicBezTo>
                  <a:pt x="751534" y="6349995"/>
                  <a:pt x="757067" y="6351738"/>
                  <a:pt x="765048" y="6353754"/>
                </a:cubicBezTo>
                <a:cubicBezTo>
                  <a:pt x="770973" y="6355245"/>
                  <a:pt x="774681" y="6356474"/>
                  <a:pt x="776172" y="6357442"/>
                </a:cubicBezTo>
                <a:cubicBezTo>
                  <a:pt x="778309" y="6358853"/>
                  <a:pt x="779377" y="6360787"/>
                  <a:pt x="779377" y="6363246"/>
                </a:cubicBezTo>
                <a:cubicBezTo>
                  <a:pt x="779377" y="6365987"/>
                  <a:pt x="778168" y="6368375"/>
                  <a:pt x="775749" y="6370411"/>
                </a:cubicBezTo>
                <a:cubicBezTo>
                  <a:pt x="773331" y="6372446"/>
                  <a:pt x="769623" y="6373464"/>
                  <a:pt x="764624" y="6373464"/>
                </a:cubicBezTo>
                <a:cubicBezTo>
                  <a:pt x="759666" y="6373464"/>
                  <a:pt x="755807" y="6372315"/>
                  <a:pt x="753046" y="6370018"/>
                </a:cubicBezTo>
                <a:cubicBezTo>
                  <a:pt x="750285" y="6367720"/>
                  <a:pt x="748602" y="6364415"/>
                  <a:pt x="747997" y="6360102"/>
                </a:cubicBezTo>
                <a:lnTo>
                  <a:pt x="737235" y="6361795"/>
                </a:lnTo>
                <a:cubicBezTo>
                  <a:pt x="738445" y="6368607"/>
                  <a:pt x="741236" y="6373746"/>
                  <a:pt x="745609" y="6377213"/>
                </a:cubicBezTo>
                <a:cubicBezTo>
                  <a:pt x="749983" y="6380679"/>
                  <a:pt x="756341" y="6382412"/>
                  <a:pt x="764685" y="6382412"/>
                </a:cubicBezTo>
                <a:cubicBezTo>
                  <a:pt x="769723" y="6382412"/>
                  <a:pt x="774238" y="6381536"/>
                  <a:pt x="778228" y="6379782"/>
                </a:cubicBezTo>
                <a:cubicBezTo>
                  <a:pt x="782219" y="6378029"/>
                  <a:pt x="785272" y="6375550"/>
                  <a:pt x="787388" y="6372345"/>
                </a:cubicBezTo>
                <a:cubicBezTo>
                  <a:pt x="789504" y="6369141"/>
                  <a:pt x="790562" y="6365725"/>
                  <a:pt x="790562" y="6362097"/>
                </a:cubicBezTo>
                <a:cubicBezTo>
                  <a:pt x="790562" y="6358389"/>
                  <a:pt x="789696" y="6355285"/>
                  <a:pt x="787962" y="6352786"/>
                </a:cubicBezTo>
                <a:cubicBezTo>
                  <a:pt x="786229" y="6350287"/>
                  <a:pt x="783841" y="6348383"/>
                  <a:pt x="780798" y="6347073"/>
                </a:cubicBezTo>
                <a:cubicBezTo>
                  <a:pt x="777754" y="6345763"/>
                  <a:pt x="772383" y="6344080"/>
                  <a:pt x="764685" y="6342024"/>
                </a:cubicBezTo>
                <a:cubicBezTo>
                  <a:pt x="759364" y="6340573"/>
                  <a:pt x="756160" y="6339646"/>
                  <a:pt x="755071" y="6339243"/>
                </a:cubicBezTo>
                <a:cubicBezTo>
                  <a:pt x="753177" y="6338477"/>
                  <a:pt x="751786" y="6337510"/>
                  <a:pt x="750900" y="6336341"/>
                </a:cubicBezTo>
                <a:cubicBezTo>
                  <a:pt x="750013" y="6335212"/>
                  <a:pt x="749569" y="6333942"/>
                  <a:pt x="749569" y="6332532"/>
                </a:cubicBezTo>
                <a:cubicBezTo>
                  <a:pt x="749569" y="6330315"/>
                  <a:pt x="750638" y="6328380"/>
                  <a:pt x="752774" y="6326727"/>
                </a:cubicBezTo>
                <a:cubicBezTo>
                  <a:pt x="754910" y="6325075"/>
                  <a:pt x="758477" y="6324248"/>
                  <a:pt x="763476" y="6324248"/>
                </a:cubicBezTo>
                <a:cubicBezTo>
                  <a:pt x="767708" y="6324248"/>
                  <a:pt x="770983" y="6325176"/>
                  <a:pt x="773301" y="6327030"/>
                </a:cubicBezTo>
                <a:cubicBezTo>
                  <a:pt x="775618" y="6328884"/>
                  <a:pt x="777019" y="6331463"/>
                  <a:pt x="777503" y="6334769"/>
                </a:cubicBezTo>
                <a:lnTo>
                  <a:pt x="788144" y="6333318"/>
                </a:lnTo>
                <a:cubicBezTo>
                  <a:pt x="787459" y="6329166"/>
                  <a:pt x="786209" y="6325851"/>
                  <a:pt x="784395" y="6323372"/>
                </a:cubicBezTo>
                <a:cubicBezTo>
                  <a:pt x="782581" y="6320893"/>
                  <a:pt x="779770" y="6318928"/>
                  <a:pt x="775961" y="6317477"/>
                </a:cubicBezTo>
                <a:cubicBezTo>
                  <a:pt x="772152" y="6316026"/>
                  <a:pt x="767728" y="6315300"/>
                  <a:pt x="762690" y="6315300"/>
                </a:cubicBezTo>
                <a:close/>
                <a:moveTo>
                  <a:pt x="525681" y="6301636"/>
                </a:moveTo>
                <a:cubicBezTo>
                  <a:pt x="527051" y="6306432"/>
                  <a:pt x="529147" y="6312559"/>
                  <a:pt x="531969" y="6320016"/>
                </a:cubicBezTo>
                <a:lnTo>
                  <a:pt x="541219" y="6344563"/>
                </a:lnTo>
                <a:lnTo>
                  <a:pt x="511170" y="6344563"/>
                </a:lnTo>
                <a:lnTo>
                  <a:pt x="520904" y="6318565"/>
                </a:lnTo>
                <a:cubicBezTo>
                  <a:pt x="522960" y="6312962"/>
                  <a:pt x="524552" y="6307319"/>
                  <a:pt x="525681" y="6301636"/>
                </a:cubicBezTo>
                <a:close/>
                <a:moveTo>
                  <a:pt x="1847396" y="6292325"/>
                </a:moveTo>
                <a:lnTo>
                  <a:pt x="1847396" y="6380961"/>
                </a:lnTo>
                <a:lnTo>
                  <a:pt x="1902778" y="6380961"/>
                </a:lnTo>
                <a:lnTo>
                  <a:pt x="1902778" y="6370501"/>
                </a:lnTo>
                <a:lnTo>
                  <a:pt x="1859125" y="6370501"/>
                </a:lnTo>
                <a:lnTo>
                  <a:pt x="1859125" y="6292325"/>
                </a:lnTo>
                <a:close/>
                <a:moveTo>
                  <a:pt x="1676067" y="6292325"/>
                </a:moveTo>
                <a:lnTo>
                  <a:pt x="1676067" y="6380961"/>
                </a:lnTo>
                <a:lnTo>
                  <a:pt x="1687373" y="6380961"/>
                </a:lnTo>
                <a:lnTo>
                  <a:pt x="1687373" y="6305505"/>
                </a:lnTo>
                <a:lnTo>
                  <a:pt x="1713008" y="6380961"/>
                </a:lnTo>
                <a:lnTo>
                  <a:pt x="1723589" y="6380961"/>
                </a:lnTo>
                <a:lnTo>
                  <a:pt x="1749346" y="6306775"/>
                </a:lnTo>
                <a:lnTo>
                  <a:pt x="1749346" y="6380961"/>
                </a:lnTo>
                <a:lnTo>
                  <a:pt x="1760652" y="6380961"/>
                </a:lnTo>
                <a:lnTo>
                  <a:pt x="1760652" y="6292325"/>
                </a:lnTo>
                <a:lnTo>
                  <a:pt x="1744872" y="6292325"/>
                </a:lnTo>
                <a:lnTo>
                  <a:pt x="1723650" y="6353995"/>
                </a:lnTo>
                <a:cubicBezTo>
                  <a:pt x="1721513" y="6360243"/>
                  <a:pt x="1719941" y="6364979"/>
                  <a:pt x="1718933" y="6368204"/>
                </a:cubicBezTo>
                <a:cubicBezTo>
                  <a:pt x="1718047" y="6365302"/>
                  <a:pt x="1716636" y="6360928"/>
                  <a:pt x="1714701" y="6355084"/>
                </a:cubicBezTo>
                <a:lnTo>
                  <a:pt x="1693721" y="6292325"/>
                </a:lnTo>
                <a:close/>
                <a:moveTo>
                  <a:pt x="1560739" y="6292325"/>
                </a:moveTo>
                <a:lnTo>
                  <a:pt x="1560739" y="6380961"/>
                </a:lnTo>
                <a:lnTo>
                  <a:pt x="1571622" y="6380961"/>
                </a:lnTo>
                <a:lnTo>
                  <a:pt x="1571622" y="6345833"/>
                </a:lnTo>
                <a:cubicBezTo>
                  <a:pt x="1571622" y="6340795"/>
                  <a:pt x="1572226" y="6336845"/>
                  <a:pt x="1573435" y="6333983"/>
                </a:cubicBezTo>
                <a:cubicBezTo>
                  <a:pt x="1574645" y="6331121"/>
                  <a:pt x="1576670" y="6328854"/>
                  <a:pt x="1579512" y="6327181"/>
                </a:cubicBezTo>
                <a:cubicBezTo>
                  <a:pt x="1582354" y="6325508"/>
                  <a:pt x="1585387" y="6324672"/>
                  <a:pt x="1588611" y="6324672"/>
                </a:cubicBezTo>
                <a:cubicBezTo>
                  <a:pt x="1592924" y="6324672"/>
                  <a:pt x="1596260" y="6325911"/>
                  <a:pt x="1598618" y="6328390"/>
                </a:cubicBezTo>
                <a:cubicBezTo>
                  <a:pt x="1600976" y="6330869"/>
                  <a:pt x="1602155" y="6334829"/>
                  <a:pt x="1602155" y="6340271"/>
                </a:cubicBezTo>
                <a:lnTo>
                  <a:pt x="1602155" y="6380961"/>
                </a:lnTo>
                <a:lnTo>
                  <a:pt x="1613038" y="6380961"/>
                </a:lnTo>
                <a:lnTo>
                  <a:pt x="1613038" y="6340271"/>
                </a:lnTo>
                <a:cubicBezTo>
                  <a:pt x="1613038" y="6333983"/>
                  <a:pt x="1612282" y="6329186"/>
                  <a:pt x="1610771" y="6325881"/>
                </a:cubicBezTo>
                <a:cubicBezTo>
                  <a:pt x="1609259" y="6322576"/>
                  <a:pt x="1606750" y="6319986"/>
                  <a:pt x="1603243" y="6318112"/>
                </a:cubicBezTo>
                <a:cubicBezTo>
                  <a:pt x="1599736" y="6316237"/>
                  <a:pt x="1595605" y="6315300"/>
                  <a:pt x="1590848" y="6315300"/>
                </a:cubicBezTo>
                <a:cubicBezTo>
                  <a:pt x="1583109" y="6315300"/>
                  <a:pt x="1576700" y="6318243"/>
                  <a:pt x="1571622" y="6324128"/>
                </a:cubicBezTo>
                <a:lnTo>
                  <a:pt x="1571622" y="6292325"/>
                </a:lnTo>
                <a:close/>
                <a:moveTo>
                  <a:pt x="1285542" y="6292325"/>
                </a:moveTo>
                <a:lnTo>
                  <a:pt x="1285542" y="6380961"/>
                </a:lnTo>
                <a:lnTo>
                  <a:pt x="1296848" y="6380961"/>
                </a:lnTo>
                <a:lnTo>
                  <a:pt x="1296848" y="6305505"/>
                </a:lnTo>
                <a:lnTo>
                  <a:pt x="1322484" y="6380961"/>
                </a:lnTo>
                <a:lnTo>
                  <a:pt x="1333064" y="6380961"/>
                </a:lnTo>
                <a:lnTo>
                  <a:pt x="1358821" y="6306775"/>
                </a:lnTo>
                <a:lnTo>
                  <a:pt x="1358821" y="6380961"/>
                </a:lnTo>
                <a:lnTo>
                  <a:pt x="1370127" y="6380961"/>
                </a:lnTo>
                <a:lnTo>
                  <a:pt x="1370127" y="6292325"/>
                </a:lnTo>
                <a:lnTo>
                  <a:pt x="1354347" y="6292325"/>
                </a:lnTo>
                <a:lnTo>
                  <a:pt x="1333125" y="6353995"/>
                </a:lnTo>
                <a:cubicBezTo>
                  <a:pt x="1330988" y="6360243"/>
                  <a:pt x="1329416" y="6364979"/>
                  <a:pt x="1328409" y="6368204"/>
                </a:cubicBezTo>
                <a:cubicBezTo>
                  <a:pt x="1327522" y="6365302"/>
                  <a:pt x="1326111" y="6360928"/>
                  <a:pt x="1324176" y="6355084"/>
                </a:cubicBezTo>
                <a:lnTo>
                  <a:pt x="1303196" y="6292325"/>
                </a:lnTo>
                <a:close/>
                <a:moveTo>
                  <a:pt x="808324" y="6292325"/>
                </a:moveTo>
                <a:lnTo>
                  <a:pt x="808324" y="6304840"/>
                </a:lnTo>
                <a:lnTo>
                  <a:pt x="819207" y="6304840"/>
                </a:lnTo>
                <a:lnTo>
                  <a:pt x="819207" y="6292325"/>
                </a:lnTo>
                <a:close/>
                <a:moveTo>
                  <a:pt x="608178" y="6292325"/>
                </a:moveTo>
                <a:lnTo>
                  <a:pt x="608178" y="6380961"/>
                </a:lnTo>
                <a:lnTo>
                  <a:pt x="618275" y="6380961"/>
                </a:lnTo>
                <a:lnTo>
                  <a:pt x="618275" y="6372920"/>
                </a:lnTo>
                <a:cubicBezTo>
                  <a:pt x="622588" y="6379248"/>
                  <a:pt x="628533" y="6382412"/>
                  <a:pt x="636111" y="6382412"/>
                </a:cubicBezTo>
                <a:cubicBezTo>
                  <a:pt x="643729" y="6382412"/>
                  <a:pt x="650259" y="6379409"/>
                  <a:pt x="655701" y="6373404"/>
                </a:cubicBezTo>
                <a:cubicBezTo>
                  <a:pt x="661142" y="6367398"/>
                  <a:pt x="663863" y="6358893"/>
                  <a:pt x="663863" y="6347889"/>
                </a:cubicBezTo>
                <a:cubicBezTo>
                  <a:pt x="663863" y="6343253"/>
                  <a:pt x="663218" y="6338900"/>
                  <a:pt x="661928" y="6334829"/>
                </a:cubicBezTo>
                <a:cubicBezTo>
                  <a:pt x="660638" y="6330758"/>
                  <a:pt x="658855" y="6327282"/>
                  <a:pt x="656577" y="6324400"/>
                </a:cubicBezTo>
                <a:cubicBezTo>
                  <a:pt x="654300" y="6321518"/>
                  <a:pt x="651398" y="6319281"/>
                  <a:pt x="647871" y="6317688"/>
                </a:cubicBezTo>
                <a:cubicBezTo>
                  <a:pt x="644344" y="6316096"/>
                  <a:pt x="640606" y="6315300"/>
                  <a:pt x="636655" y="6315300"/>
                </a:cubicBezTo>
                <a:cubicBezTo>
                  <a:pt x="629521" y="6315300"/>
                  <a:pt x="623656" y="6318182"/>
                  <a:pt x="619061" y="6323946"/>
                </a:cubicBezTo>
                <a:lnTo>
                  <a:pt x="619061" y="6292325"/>
                </a:lnTo>
                <a:close/>
                <a:moveTo>
                  <a:pt x="519635" y="6292325"/>
                </a:moveTo>
                <a:lnTo>
                  <a:pt x="485595" y="6380961"/>
                </a:lnTo>
                <a:lnTo>
                  <a:pt x="498050" y="6380961"/>
                </a:lnTo>
                <a:lnTo>
                  <a:pt x="507784" y="6354116"/>
                </a:lnTo>
                <a:lnTo>
                  <a:pt x="544847" y="6354116"/>
                </a:lnTo>
                <a:lnTo>
                  <a:pt x="555186" y="6380961"/>
                </a:lnTo>
                <a:lnTo>
                  <a:pt x="568548" y="6380961"/>
                </a:lnTo>
                <a:lnTo>
                  <a:pt x="532271" y="6292325"/>
                </a:lnTo>
                <a:close/>
                <a:moveTo>
                  <a:pt x="1228689" y="6290813"/>
                </a:moveTo>
                <a:cubicBezTo>
                  <a:pt x="1223933" y="6290813"/>
                  <a:pt x="1220235" y="6291690"/>
                  <a:pt x="1217594" y="6293443"/>
                </a:cubicBezTo>
                <a:cubicBezTo>
                  <a:pt x="1214954" y="6295197"/>
                  <a:pt x="1213110" y="6297484"/>
                  <a:pt x="1212062" y="6300306"/>
                </a:cubicBezTo>
                <a:cubicBezTo>
                  <a:pt x="1211296" y="6302402"/>
                  <a:pt x="1210914" y="6305606"/>
                  <a:pt x="1210914" y="6309919"/>
                </a:cubicBezTo>
                <a:lnTo>
                  <a:pt x="1210914" y="6316751"/>
                </a:lnTo>
                <a:lnTo>
                  <a:pt x="1201300" y="6316751"/>
                </a:lnTo>
                <a:lnTo>
                  <a:pt x="1201300" y="6325216"/>
                </a:lnTo>
                <a:lnTo>
                  <a:pt x="1210914" y="6325216"/>
                </a:lnTo>
                <a:lnTo>
                  <a:pt x="1210914" y="6380961"/>
                </a:lnTo>
                <a:lnTo>
                  <a:pt x="1221736" y="6380961"/>
                </a:lnTo>
                <a:lnTo>
                  <a:pt x="1221736" y="6325216"/>
                </a:lnTo>
                <a:lnTo>
                  <a:pt x="1234252" y="6325216"/>
                </a:lnTo>
                <a:lnTo>
                  <a:pt x="1234252" y="6316751"/>
                </a:lnTo>
                <a:lnTo>
                  <a:pt x="1221736" y="6316751"/>
                </a:lnTo>
                <a:lnTo>
                  <a:pt x="1221736" y="6310826"/>
                </a:lnTo>
                <a:cubicBezTo>
                  <a:pt x="1221736" y="6306956"/>
                  <a:pt x="1222421" y="6304316"/>
                  <a:pt x="1223792" y="6302906"/>
                </a:cubicBezTo>
                <a:cubicBezTo>
                  <a:pt x="1225162" y="6301495"/>
                  <a:pt x="1227500" y="6300789"/>
                  <a:pt x="1230805" y="6300789"/>
                </a:cubicBezTo>
                <a:cubicBezTo>
                  <a:pt x="1232820" y="6300789"/>
                  <a:pt x="1234957" y="6300991"/>
                  <a:pt x="1237214" y="6301394"/>
                </a:cubicBezTo>
                <a:lnTo>
                  <a:pt x="1238847" y="6291902"/>
                </a:lnTo>
                <a:cubicBezTo>
                  <a:pt x="1235138" y="6291176"/>
                  <a:pt x="1231753" y="6290813"/>
                  <a:pt x="1228689" y="6290813"/>
                </a:cubicBezTo>
                <a:close/>
                <a:moveTo>
                  <a:pt x="7175501" y="1"/>
                </a:moveTo>
                <a:lnTo>
                  <a:pt x="12191999" y="1"/>
                </a:lnTo>
                <a:lnTo>
                  <a:pt x="12191999" y="6858001"/>
                </a:lnTo>
                <a:lnTo>
                  <a:pt x="1" y="6858001"/>
                </a:lnTo>
                <a:lnTo>
                  <a:pt x="1" y="5752619"/>
                </a:lnTo>
                <a:lnTo>
                  <a:pt x="7175501" y="5752619"/>
                </a:lnTo>
                <a:close/>
                <a:moveTo>
                  <a:pt x="0" y="0"/>
                </a:moveTo>
                <a:lnTo>
                  <a:pt x="7175501" y="0"/>
                </a:lnTo>
                <a:lnTo>
                  <a:pt x="7175501" y="1"/>
                </a:lnTo>
                <a:lnTo>
                  <a:pt x="1" y="1"/>
                </a:lnTo>
                <a:lnTo>
                  <a:pt x="1" y="5752619"/>
                </a:lnTo>
                <a:lnTo>
                  <a:pt x="0" y="5752619"/>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smtClean="0"/>
              <a:t>Click on picture icon to insert picture. Reset layout.</a:t>
            </a:r>
            <a:endParaRPr lang="en-US" dirty="0"/>
          </a:p>
        </p:txBody>
      </p:sp>
      <p:sp>
        <p:nvSpPr>
          <p:cNvPr id="12"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213816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669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609725"/>
            <a:ext cx="6485763" cy="1600200"/>
          </a:xfrm>
        </p:spPr>
        <p:txBody>
          <a:bodyPr vert="horz" anchor="b" anchorCtr="0"/>
          <a:lstStyle>
            <a:lvl1pPr>
              <a:lnSpc>
                <a:spcPct val="90000"/>
              </a:lnSpc>
              <a:defRPr lang="en-US" sz="4800" b="1" i="0" kern="1200" cap="none" baseline="0" dirty="0">
                <a:solidFill>
                  <a:schemeClr val="tx2"/>
                </a:solidFill>
                <a:latin typeface="Arial" panose="020B0604020202020204" pitchFamily="34" charset="0"/>
                <a:ea typeface="+mj-ea"/>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405820"/>
            <a:ext cx="6447769"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9"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429126"/>
            <a:ext cx="64484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1" name="Graphic 12">
            <a:extLst>
              <a:ext uri="{FF2B5EF4-FFF2-40B4-BE49-F238E27FC236}">
                <a16:creationId xmlns:a16="http://schemas.microsoft.com/office/drawing/2014/main" id="{CB3E854A-C626-6940-8EB7-1215314D076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Tree>
    <p:extLst>
      <p:ext uri="{BB962C8B-B14F-4D97-AF65-F5344CB8AC3E}">
        <p14:creationId xmlns:p14="http://schemas.microsoft.com/office/powerpoint/2010/main" val="3367881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2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pic>
        <p:nvPicPr>
          <p:cNvPr id="12" name="Graphic 11">
            <a:extLst>
              <a:ext uri="{FF2B5EF4-FFF2-40B4-BE49-F238E27FC236}">
                <a16:creationId xmlns:a16="http://schemas.microsoft.com/office/drawing/2014/main" id="{4BDA5969-2C42-8648-93E3-BF7B87CBB66A}"/>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EB52CC60-D837-D647-A567-2B63058DBF94}"/>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11961421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B: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826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pic>
        <p:nvPicPr>
          <p:cNvPr id="10" name="Graphic 9">
            <a:extLst>
              <a:ext uri="{FF2B5EF4-FFF2-40B4-BE49-F238E27FC236}">
                <a16:creationId xmlns:a16="http://schemas.microsoft.com/office/drawing/2014/main" id="{DEE86180-B41F-7848-B765-50E102B103F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21CF6247-A2E8-674A-8D8D-44D4EAEBC5F3}"/>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82972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B: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928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none" baseline="0" dirty="0">
                <a:solidFill>
                  <a:schemeClr val="bg1"/>
                </a:solidFill>
                <a:latin typeface="+mn-lt"/>
                <a:ea typeface="+mj-ea"/>
                <a:cs typeface="Arial Narrow"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pic>
        <p:nvPicPr>
          <p:cNvPr id="11" name="Graphic 10">
            <a:extLst>
              <a:ext uri="{FF2B5EF4-FFF2-40B4-BE49-F238E27FC236}">
                <a16:creationId xmlns:a16="http://schemas.microsoft.com/office/drawing/2014/main" id="{FDA1005D-C174-6644-AA58-EB820552A198}"/>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36A2096B-1D09-3D42-BA78-B882F20572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2"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F0B5321B-5321-A64E-90E9-3AC4B69C0AD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2859374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10708201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235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8843" y="2347270"/>
            <a:ext cx="9433657" cy="1519880"/>
          </a:xfrm>
        </p:spPr>
        <p:txBody>
          <a:bodyPr vert="horz"/>
          <a:lstStyle>
            <a:lvl1pPr>
              <a:lnSpc>
                <a:spcPct val="80000"/>
              </a:lnSpc>
              <a:defRPr sz="12000" b="1" i="0" cap="none" baseline="0">
                <a:solidFill>
                  <a:schemeClr val="tx2"/>
                </a:solidFill>
                <a:latin typeface="Arial" panose="020B0604020202020204" pitchFamily="34" charset="0"/>
                <a:cs typeface="Arial" panose="020B0604020202020204" pitchFamily="34" charset="0"/>
              </a:defRPr>
            </a:lvl1pPr>
          </a:lstStyle>
          <a:p>
            <a:r>
              <a:rPr lang="en-US" dirty="0" smtClean="0"/>
              <a:t>Heading 1</a:t>
            </a:r>
            <a:endParaRPr lang="en-US" dirty="0"/>
          </a:p>
        </p:txBody>
      </p:sp>
      <p:sp>
        <p:nvSpPr>
          <p:cNvPr id="3" name="Subtitle 2"/>
          <p:cNvSpPr>
            <a:spLocks noGrp="1"/>
          </p:cNvSpPr>
          <p:nvPr>
            <p:ph type="subTitle" idx="1" hasCustomPrompt="1"/>
          </p:nvPr>
        </p:nvSpPr>
        <p:spPr>
          <a:xfrm>
            <a:off x="465995" y="1784598"/>
            <a:ext cx="9313005" cy="381732"/>
          </a:xfrm>
        </p:spPr>
        <p:txBody>
          <a:bodyPr anchor="b"/>
          <a:lstStyle>
            <a:lvl1pPr marL="0" indent="0" algn="l">
              <a:buNone/>
              <a:defRPr sz="24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83B2B48-1865-EF4B-9973-D5EE72C1B4A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CB3E854A-C626-6940-8EB7-1215314D076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7DCD9D50-BDCD-8D45-9767-5C243626118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2F37011C-C36F-8D4D-96C4-15011C56AD67}"/>
              </a:ext>
            </a:extLst>
          </p:cNvPr>
          <p:cNvSpPr/>
          <p:nvPr/>
        </p:nvSpPr>
        <p:spPr>
          <a:xfrm>
            <a:off x="485775" y="6257135"/>
            <a:ext cx="1785745" cy="153888"/>
          </a:xfrm>
          <a:prstGeom prst="rect">
            <a:avLst/>
          </a:prstGeom>
        </p:spPr>
        <p:txBody>
          <a:bodyPr wrap="none" lIns="0" tIns="0" rIns="0" bIns="0">
            <a:spAutoFit/>
          </a:bodyPr>
          <a:lstStyle/>
          <a:p>
            <a:r>
              <a:rPr lang="en-US" sz="1000" dirty="0">
                <a:effectLst/>
                <a:latin typeface="Arial" panose="020B0604020202020204" pitchFamily="34" charset="0"/>
              </a:rPr>
              <a:t>A business of Marsh McLennan</a:t>
            </a:r>
            <a:endParaRPr lang="en-US" sz="1000" dirty="0"/>
          </a:p>
        </p:txBody>
      </p:sp>
    </p:spTree>
    <p:extLst>
      <p:ext uri="{BB962C8B-B14F-4D97-AF65-F5344CB8AC3E}">
        <p14:creationId xmlns:p14="http://schemas.microsoft.com/office/powerpoint/2010/main" val="422793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C: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39355449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3384"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2443E10E-D359-3B49-9FDB-877AADFF144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D426043B-0359-FC46-BCF1-DAFF274E758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1" name="Text Placeholder 3">
            <a:extLst>
              <a:ext uri="{FF2B5EF4-FFF2-40B4-BE49-F238E27FC236}">
                <a16:creationId xmlns:a16="http://schemas.microsoft.com/office/drawing/2014/main" id="{07BC8A92-AD16-9240-917F-017431DBB319}"/>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2" name="Rectangle 11">
            <a:extLst>
              <a:ext uri="{FF2B5EF4-FFF2-40B4-BE49-F238E27FC236}">
                <a16:creationId xmlns:a16="http://schemas.microsoft.com/office/drawing/2014/main" id="{F751746A-3C5A-ED4C-8A74-566F52CC4087}"/>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13266378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7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dirty="0"/>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4180016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440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09829" y="2350190"/>
            <a:ext cx="9429496" cy="1516960"/>
          </a:xfrm>
        </p:spPr>
        <p:txBody>
          <a:bodyPr vert="horz" lIns="0" tIns="0" rIns="0" bIns="0" rtlCol="0" anchor="t">
            <a:noAutofit/>
          </a:bodyPr>
          <a:lstStyle>
            <a:lvl1pPr>
              <a:defRPr lang="en-US" sz="12000" i="0" cap="none" baseline="0" dirty="0">
                <a:solidFill>
                  <a:schemeClr val="bg1"/>
                </a:solidFill>
                <a:latin typeface="Arial" panose="020B0604020202020204" pitchFamily="34" charset="0"/>
                <a:cs typeface="Arial" panose="020B0604020202020204" pitchFamily="34" charset="0"/>
              </a:defRPr>
            </a:lvl1pPr>
          </a:lstStyle>
          <a:p>
            <a:pPr lvl="0"/>
            <a:r>
              <a:rPr lang="en-US" dirty="0" smtClean="0"/>
              <a:t>Heading 1</a:t>
            </a:r>
            <a:endParaRPr lang="en-US" dirty="0"/>
          </a:p>
        </p:txBody>
      </p:sp>
      <p:sp>
        <p:nvSpPr>
          <p:cNvPr id="3" name="Subtitle 2"/>
          <p:cNvSpPr>
            <a:spLocks noGrp="1"/>
          </p:cNvSpPr>
          <p:nvPr>
            <p:ph type="subTitle" idx="1" hasCustomPrompt="1"/>
          </p:nvPr>
        </p:nvSpPr>
        <p:spPr>
          <a:xfrm>
            <a:off x="465201" y="1783080"/>
            <a:ext cx="9310624" cy="384048"/>
          </a:xfrm>
        </p:spPr>
        <p:txBody>
          <a:bodyPr anchor="b"/>
          <a:lstStyle>
            <a:lvl1pPr marL="0" indent="0" algn="l">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Heading 2</a:t>
            </a:r>
          </a:p>
        </p:txBody>
      </p:sp>
      <p:sp>
        <p:nvSpPr>
          <p:cNvPr id="8" name="Picture Placeholder 5">
            <a:extLst>
              <a:ext uri="{FF2B5EF4-FFF2-40B4-BE49-F238E27FC236}">
                <a16:creationId xmlns:a16="http://schemas.microsoft.com/office/drawing/2014/main" id="{F55BF0EB-E95B-664F-A15D-0229B8770981}"/>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486803" y="341762"/>
            <a:ext cx="1623974"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485775" y="6257135"/>
            <a:ext cx="1785745"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A business of Marsh McLennan</a:t>
            </a:r>
            <a:endParaRPr lang="en-US" sz="1000" dirty="0">
              <a:solidFill>
                <a:schemeClr val="bg1"/>
              </a:solidFill>
            </a:endParaRPr>
          </a:p>
        </p:txBody>
      </p:sp>
    </p:spTree>
    <p:extLst>
      <p:ext uri="{BB962C8B-B14F-4D97-AF65-F5344CB8AC3E}">
        <p14:creationId xmlns:p14="http://schemas.microsoft.com/office/powerpoint/2010/main" val="37638526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VERS JOINT BUSINES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48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10345781"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Covers for a</a:t>
            </a:r>
          </a:p>
          <a:p>
            <a:pPr algn="l"/>
            <a:r>
              <a:rPr lang="en-US" sz="12000" b="1" i="0" dirty="0" smtClean="0">
                <a:solidFill>
                  <a:schemeClr val="bg1"/>
                </a:solidFill>
                <a:latin typeface="Arial" panose="020B0604020202020204" pitchFamily="34" charset="0"/>
                <a:cs typeface="Arial" panose="020B0604020202020204" pitchFamily="34" charset="0"/>
              </a:rPr>
              <a:t>joint busines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A: strip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50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none" baseline="0">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p:txBody>
      </p:sp>
      <p:sp>
        <p:nvSpPr>
          <p:cNvPr id="8" name="Picture Placeholder 5">
            <a:extLst>
              <a:ext uri="{FF2B5EF4-FFF2-40B4-BE49-F238E27FC236}">
                <a16:creationId xmlns:a16="http://schemas.microsoft.com/office/drawing/2014/main" id="{6AA4DE2D-F68B-BB43-AF2C-40B2A7B333AD}"/>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baseline="0">
                <a:solidFill>
                  <a:srgbClr val="FF0000"/>
                </a:solidFill>
              </a:defRPr>
            </a:lvl1pPr>
          </a:lstStyle>
          <a:p>
            <a:r>
              <a:rPr lang="en-US" dirty="0"/>
              <a:t>Placeholder for </a:t>
            </a:r>
            <a:r>
              <a:rPr lang="en-US" dirty="0" smtClean="0"/>
              <a:t>collaborator (MMC business) logo. </a:t>
            </a:r>
            <a:r>
              <a:rPr lang="en-US" dirty="0"/>
              <a:t/>
            </a:r>
            <a:br>
              <a:rPr lang="en-US" dirty="0"/>
            </a:br>
            <a:r>
              <a:rPr lang="en-US" dirty="0"/>
              <a:t>Delete box if not used.</a:t>
            </a:r>
          </a:p>
        </p:txBody>
      </p:sp>
      <p:pic>
        <p:nvPicPr>
          <p:cNvPr id="11" name="Graphic 10">
            <a:extLst>
              <a:ext uri="{FF2B5EF4-FFF2-40B4-BE49-F238E27FC236}">
                <a16:creationId xmlns:a16="http://schemas.microsoft.com/office/drawing/2014/main" id="{4D8D969B-1ECE-2C44-8889-FF09503BD87E}"/>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2" name="Picture Placeholder 5">
            <a:extLst>
              <a:ext uri="{FF2B5EF4-FFF2-40B4-BE49-F238E27FC236}">
                <a16:creationId xmlns:a16="http://schemas.microsoft.com/office/drawing/2014/main" id="{080A16FD-0635-534B-8EF0-AC82A24FE50A}"/>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3" name="Text Placeholder 3">
            <a:extLst>
              <a:ext uri="{FF2B5EF4-FFF2-40B4-BE49-F238E27FC236}">
                <a16:creationId xmlns:a16="http://schemas.microsoft.com/office/drawing/2014/main" id="{7731C4F9-CCD2-1349-A6C5-1F63598D3F2C}"/>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779E8AEE-4750-3448-90BB-1CA12B7B33ED}"/>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tx1"/>
                </a:solidFill>
                <a:effectLst/>
                <a:latin typeface="Arial" panose="020B0604020202020204" pitchFamily="34" charset="0"/>
              </a:rPr>
              <a:t>Businesses of Marsh McLennan</a:t>
            </a:r>
            <a:endParaRPr lang="en-US" sz="1000" dirty="0">
              <a:solidFill>
                <a:schemeClr val="tx1"/>
              </a:solidFill>
            </a:endParaRPr>
          </a:p>
        </p:txBody>
      </p:sp>
    </p:spTree>
    <p:extLst>
      <p:ext uri="{BB962C8B-B14F-4D97-AF65-F5344CB8AC3E}">
        <p14:creationId xmlns:p14="http://schemas.microsoft.com/office/powerpoint/2010/main" val="31289087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A: blue - stripe/logo">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extLst>
              <p:ext uri="{D42A27DB-BD31-4B8C-83A1-F6EECF244321}">
                <p14:modId xmlns:p14="http://schemas.microsoft.com/office/powerpoint/2010/main" val="6858612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952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none" baseline="0">
                <a:solidFill>
                  <a:schemeClr val="bg1"/>
                </a:solidFill>
                <a:latin typeface="Arial" panose="020B0604020202020204" pitchFamily="34" charset="0"/>
                <a:cs typeface="Arial" panose="020B0604020202020204" pitchFamily="34" charset="0"/>
              </a:defRPr>
            </a:lvl1pPr>
          </a:lstStyle>
          <a:p>
            <a:r>
              <a:rPr lang="en-US" dirty="0" smtClean="0"/>
              <a:t>This is a placeholder </a:t>
            </a:r>
            <a:br>
              <a:rPr lang="en-US" dirty="0" smtClean="0"/>
            </a:br>
            <a:r>
              <a:rPr lang="en-US" dirty="0" smtClean="0"/>
              <a:t>for main title</a:t>
            </a:r>
            <a:endParaRPr lang="en-US" dirty="0"/>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goes here</a:t>
            </a:r>
          </a:p>
          <a:p>
            <a:endParaRPr lang="en-US" dirty="0"/>
          </a:p>
        </p:txBody>
      </p:sp>
      <p:sp>
        <p:nvSpPr>
          <p:cNvPr id="10" name="Picture Placeholder 5">
            <a:extLst>
              <a:ext uri="{FF2B5EF4-FFF2-40B4-BE49-F238E27FC236}">
                <a16:creationId xmlns:a16="http://schemas.microsoft.com/office/drawing/2014/main" id="{CD55AD5D-7D50-4F42-A265-20F46833B070}"/>
              </a:ext>
            </a:extLst>
          </p:cNvPr>
          <p:cNvSpPr>
            <a:spLocks noGrp="1" noChangeAspect="1"/>
          </p:cNvSpPr>
          <p:nvPr>
            <p:ph type="pic" sz="quarter" idx="12" hasCustomPrompt="1"/>
          </p:nvPr>
        </p:nvSpPr>
        <p:spPr>
          <a:xfrm>
            <a:off x="2202227" y="341143"/>
            <a:ext cx="2863215" cy="342900"/>
          </a:xfrm>
          <a:noFill/>
        </p:spPr>
        <p:txBody>
          <a:bodyPr anchor="t" anchorCtr="0"/>
          <a:lstStyle>
            <a:lvl1pPr algn="l">
              <a:spcBef>
                <a:spcPts val="0"/>
              </a:spcBef>
              <a:spcAft>
                <a:spcPts val="0"/>
              </a:spcAft>
              <a:defRPr sz="1000">
                <a:solidFill>
                  <a:srgbClr val="FF0000"/>
                </a:solidFill>
              </a:defRPr>
            </a:lvl1pPr>
          </a:lstStyle>
          <a:p>
            <a:r>
              <a:rPr lang="en-US" dirty="0" smtClean="0"/>
              <a:t>Placeholder for collaborator (MMC business) logo. </a:t>
            </a:r>
            <a:br>
              <a:rPr lang="en-US" dirty="0" smtClean="0"/>
            </a:br>
            <a:r>
              <a:rPr lang="en-US" dirty="0" smtClean="0"/>
              <a:t>Delete box if not used.</a:t>
            </a:r>
            <a:endParaRPr lang="en-US" dirty="0"/>
          </a:p>
        </p:txBody>
      </p:sp>
      <p:pic>
        <p:nvPicPr>
          <p:cNvPr id="11" name="Graphic 10">
            <a:extLst>
              <a:ext uri="{FF2B5EF4-FFF2-40B4-BE49-F238E27FC236}">
                <a16:creationId xmlns:a16="http://schemas.microsoft.com/office/drawing/2014/main" id="{8592E6A1-8C6D-B446-81B7-94340E3547D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3" y="341762"/>
            <a:ext cx="1623974" cy="338328"/>
          </a:xfrm>
          <a:prstGeom prst="rect">
            <a:avLst/>
          </a:prstGeom>
        </p:spPr>
      </p:pic>
      <p:sp>
        <p:nvSpPr>
          <p:cNvPr id="13" name="Picture Placeholder 5">
            <a:extLst>
              <a:ext uri="{FF2B5EF4-FFF2-40B4-BE49-F238E27FC236}">
                <a16:creationId xmlns:a16="http://schemas.microsoft.com/office/drawing/2014/main" id="{047A2875-C8A1-A446-8F58-D4B2DE1E532B}"/>
              </a:ext>
            </a:extLst>
          </p:cNvPr>
          <p:cNvSpPr>
            <a:spLocks noGrp="1" noChangeAspect="1"/>
          </p:cNvSpPr>
          <p:nvPr>
            <p:ph type="pic" sz="quarter" idx="11" hasCustomPrompt="1"/>
          </p:nvPr>
        </p:nvSpPr>
        <p:spPr>
          <a:xfrm>
            <a:off x="8133618" y="361951"/>
            <a:ext cx="3575782" cy="495300"/>
          </a:xfrm>
          <a:noFill/>
        </p:spPr>
        <p:txBody>
          <a:bodyPr anchor="t" anchorCtr="0"/>
          <a:lstStyle>
            <a:lvl1pPr marL="0" marR="0" indent="0" algn="r" defTabSz="457200" rtl="0" eaLnBrk="1" fontAlgn="auto" latinLnBrk="0" hangingPunct="1">
              <a:lnSpc>
                <a:spcPct val="100000"/>
              </a:lnSpc>
              <a:spcBef>
                <a:spcPts val="0"/>
              </a:spcBef>
              <a:spcAft>
                <a:spcPts val="0"/>
              </a:spcAft>
              <a:buClrTx/>
              <a:buSzTx/>
              <a:buFont typeface="Arial"/>
              <a:buNone/>
              <a:tabLst/>
              <a:defRPr sz="1000">
                <a:solidFill>
                  <a:srgbClr val="FF0000"/>
                </a:solidFill>
              </a:defRPr>
            </a:lvl1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lang="en-US" dirty="0" smtClean="0"/>
              <a:t>Placeholder for a third party or a client logo. Click icon to add logo. Use “Crop” feature on “Format” tab to resize or reposition logo once added. Give the logo equal visual weight as Marsh’s. Delete box if not used.</a:t>
            </a:r>
          </a:p>
        </p:txBody>
      </p:sp>
      <p:sp>
        <p:nvSpPr>
          <p:cNvPr id="14" name="Text Placeholder 3">
            <a:extLst>
              <a:ext uri="{FF2B5EF4-FFF2-40B4-BE49-F238E27FC236}">
                <a16:creationId xmlns:a16="http://schemas.microsoft.com/office/drawing/2014/main" id="{2E6207F1-15CB-6546-A549-DF244E46D6F3}"/>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35F05B11-D474-A04D-8E61-5AEFD7224969}"/>
              </a:ext>
            </a:extLst>
          </p:cNvPr>
          <p:cNvSpPr/>
          <p:nvPr/>
        </p:nvSpPr>
        <p:spPr>
          <a:xfrm>
            <a:off x="485775" y="6257135"/>
            <a:ext cx="1814599" cy="153888"/>
          </a:xfrm>
          <a:prstGeom prst="rect">
            <a:avLst/>
          </a:prstGeom>
        </p:spPr>
        <p:txBody>
          <a:bodyPr wrap="none" lIns="0" tIns="0" rIns="0" bIns="0">
            <a:spAutoFit/>
          </a:bodyPr>
          <a:lstStyle/>
          <a:p>
            <a:r>
              <a:rPr lang="en-US" sz="1000" dirty="0">
                <a:solidFill>
                  <a:schemeClr val="bg1"/>
                </a:solidFill>
                <a:effectLst/>
                <a:latin typeface="Arial" panose="020B0604020202020204" pitchFamily="34" charset="0"/>
              </a:rPr>
              <a:t>Businesses of Marsh McLennan</a:t>
            </a:r>
            <a:endParaRPr lang="en-US" sz="1000" dirty="0">
              <a:solidFill>
                <a:schemeClr val="bg1"/>
              </a:solidFill>
            </a:endParaRPr>
          </a:p>
        </p:txBody>
      </p:sp>
    </p:spTree>
    <p:extLst>
      <p:ext uri="{BB962C8B-B14F-4D97-AF65-F5344CB8AC3E}">
        <p14:creationId xmlns:p14="http://schemas.microsoft.com/office/powerpoint/2010/main" val="31716763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 CONT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02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7824258"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Agendas +</a:t>
            </a:r>
          </a:p>
          <a:p>
            <a:pPr algn="l"/>
            <a:r>
              <a:rPr lang="en-US" sz="12000" b="1" i="0" dirty="0" smtClean="0">
                <a:solidFill>
                  <a:schemeClr val="bg1"/>
                </a:solidFill>
                <a:latin typeface="Arial" panose="020B0604020202020204" pitchFamily="34" charset="0"/>
                <a:cs typeface="Arial" panose="020B0604020202020204" pitchFamily="34" charset="0"/>
              </a:rPr>
              <a:t>Cont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3724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04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lvl1pPr>
            <a:lvl2pPr marL="461963" indent="-230188">
              <a:buFont typeface="Arial" panose="020B0604020202020204" pitchFamily="34" charset="0"/>
              <a:buChar char="•"/>
              <a:defRPr baseline="0"/>
            </a:lvl2pPr>
            <a:lvl3pPr marL="685800" indent="-228600">
              <a:defRPr baseline="0"/>
            </a:lvl3pPr>
            <a:lvl4pPr marL="914400" indent="-228600">
              <a:defRPr baseline="0"/>
            </a:lvl4pPr>
            <a:lvl5pPr marL="1143000" indent="-228600">
              <a:defRPr baseline="0"/>
            </a:lvl5pPr>
            <a:lvl6pPr marL="1371600" indent="-227013">
              <a:defRPr baseline="0"/>
            </a:lvl6pPr>
            <a:lvl7pPr marL="1600200" indent="-228600">
              <a:defRPr baseline="0"/>
            </a:lvl7pPr>
            <a:lvl8pPr marL="1828800" indent="-227013">
              <a:defRPr/>
            </a:lvl8pPr>
            <a:lvl9pPr marL="1828800" indent="0">
              <a:buFont typeface="Arial" panose="020B0604020202020204" pitchFamily="34" charset="0"/>
              <a:buNone/>
              <a:defRPr baseline="0"/>
            </a:lvl9pPr>
          </a:lstStyle>
          <a:p>
            <a:pPr lvl="0"/>
            <a:r>
              <a:rPr lang="en-US" dirty="0"/>
              <a:t>Click to add </a:t>
            </a:r>
            <a:r>
              <a:rPr lang="en-US" dirty="0" smtClean="0"/>
              <a:t>topic</a:t>
            </a:r>
            <a:endParaRPr lang="en-US" dirty="0"/>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lvl1pPr>
          </a:lstStyle>
          <a:p>
            <a:r>
              <a:rPr lang="en-US" dirty="0" smtClean="0"/>
              <a:t>Add title</a:t>
            </a:r>
            <a:endParaRPr lang="en-US" dirty="0"/>
          </a:p>
        </p:txBody>
      </p:sp>
    </p:spTree>
    <p:extLst>
      <p:ext uri="{BB962C8B-B14F-4D97-AF65-F5344CB8AC3E}">
        <p14:creationId xmlns:p14="http://schemas.microsoft.com/office/powerpoint/2010/main" val="7743562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2"/>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071"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233363" indent="-233363">
              <a:lnSpc>
                <a:spcPct val="90000"/>
              </a:lnSpc>
              <a:spcBef>
                <a:spcPts val="600"/>
              </a:spcBef>
              <a:buFont typeface="+mj-lt"/>
              <a:buAutoNum type="arabicPeriod"/>
              <a:tabLst/>
              <a:defRPr>
                <a:solidFill>
                  <a:schemeClr val="bg1"/>
                </a:solidFill>
              </a:defRPr>
            </a:lvl1pPr>
            <a:lvl2pPr marL="512763" indent="-285750">
              <a:buFont typeface="Arial" panose="020B0604020202020204" pitchFamily="34" charset="0"/>
              <a:buChar char="•"/>
              <a:defRPr>
                <a:solidFill>
                  <a:schemeClr val="bg1"/>
                </a:solidFill>
              </a:defRPr>
            </a:lvl2pPr>
            <a:lvl3pPr marL="685800" indent="-228600">
              <a:defRPr>
                <a:solidFill>
                  <a:schemeClr val="bg1"/>
                </a:solidFill>
              </a:defRPr>
            </a:lvl3pPr>
            <a:lvl4pPr marL="914400" indent="-228600">
              <a:defRPr>
                <a:solidFill>
                  <a:schemeClr val="bg1"/>
                </a:solidFill>
              </a:defRPr>
            </a:lvl4pPr>
            <a:lvl5pPr marL="1143000" indent="-228600">
              <a:defRPr baseline="0">
                <a:solidFill>
                  <a:schemeClr val="bg1"/>
                </a:solidFill>
              </a:defRPr>
            </a:lvl5pPr>
            <a:lvl6pPr marL="1371600" indent="-227013">
              <a:defRPr baseline="0">
                <a:solidFill>
                  <a:schemeClr val="bg1"/>
                </a:solidFill>
              </a:defRPr>
            </a:lvl6pPr>
            <a:lvl7pPr marL="1600200" indent="-228600">
              <a:defRPr baseline="0">
                <a:solidFill>
                  <a:schemeClr val="bg1"/>
                </a:solidFill>
              </a:defRPr>
            </a:lvl7pPr>
            <a:lvl8pPr marL="1828800" indent="-227013">
              <a:defRPr baseline="0">
                <a:solidFill>
                  <a:schemeClr val="bg1"/>
                </a:solidFill>
              </a:defRPr>
            </a:lvl8pPr>
            <a:lvl9pPr marL="2057400" indent="-219075">
              <a:defRPr baseline="0">
                <a:solidFill>
                  <a:schemeClr val="bg1"/>
                </a:solidFill>
              </a:defRPr>
            </a:lvl9pPr>
          </a:lstStyle>
          <a:p>
            <a:pPr lvl="0"/>
            <a:r>
              <a:rPr lang="en-US" dirty="0" smtClean="0"/>
              <a:t>Click to add topic</a:t>
            </a:r>
          </a:p>
        </p:txBody>
      </p:sp>
      <p:sp>
        <p:nvSpPr>
          <p:cNvPr id="7"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85775" y="4901386"/>
            <a:ext cx="11223626" cy="1846659"/>
          </a:xfrm>
        </p:spPr>
        <p:txBody>
          <a:bodyPr vert="horz" wrap="square">
            <a:spAutoFit/>
          </a:bodyPr>
          <a:lstStyle>
            <a:lvl1pPr algn="r">
              <a:lnSpc>
                <a:spcPct val="100000"/>
              </a:lnSpc>
              <a:defRPr sz="12000">
                <a:solidFill>
                  <a:schemeClr val="bg1"/>
                </a:solidFill>
              </a:defRPr>
            </a:lvl1pPr>
          </a:lstStyle>
          <a:p>
            <a:r>
              <a:rPr lang="en-US" dirty="0" smtClean="0"/>
              <a:t>Add title</a:t>
            </a:r>
            <a:endParaRPr lang="en-US" dirty="0"/>
          </a:p>
        </p:txBody>
      </p:sp>
    </p:spTree>
    <p:extLst>
      <p:ext uri="{BB962C8B-B14F-4D97-AF65-F5344CB8AC3E}">
        <p14:creationId xmlns:p14="http://schemas.microsoft.com/office/powerpoint/2010/main" val="23191531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733"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2505671"/>
            <a:ext cx="6073779"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Divid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5196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09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032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211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39306975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95"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dirty="0"/>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gradient tea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696"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1"/>
          <p:cNvSpPr>
            <a:spLocks noGrp="1"/>
          </p:cNvSpPr>
          <p:nvPr>
            <p:ph type="title" hasCustomPrompt="1"/>
          </p:nvPr>
        </p:nvSpPr>
        <p:spPr>
          <a:xfrm>
            <a:off x="482600" y="265694"/>
            <a:ext cx="8356600" cy="5855705"/>
          </a:xfrm>
        </p:spPr>
        <p:txBody>
          <a:bodyPr/>
          <a:lstStyle>
            <a:lvl1pPr>
              <a:lnSpc>
                <a:spcPct val="90000"/>
              </a:lnSpc>
              <a:defRPr sz="5400">
                <a:solidFill>
                  <a:schemeClr val="bg1"/>
                </a:solidFill>
              </a:defRPr>
            </a:lvl1pPr>
          </a:lstStyle>
          <a:p>
            <a:pPr lvl="0"/>
            <a:r>
              <a:rPr lang="en-US" dirty="0" smtClean="0"/>
              <a:t>This slide is for </a:t>
            </a:r>
            <a:br>
              <a:rPr lang="en-US" dirty="0" smtClean="0"/>
            </a:br>
            <a:r>
              <a:rPr lang="en-US" dirty="0" smtClean="0"/>
              <a:t>divider, statement </a:t>
            </a:r>
            <a:br>
              <a:rPr lang="en-US" dirty="0" smtClean="0"/>
            </a:br>
            <a:r>
              <a:rPr lang="en-US" dirty="0" smtClean="0"/>
              <a:t>or takeaway.</a:t>
            </a:r>
            <a:endParaRPr lang="en-US" dirty="0"/>
          </a:p>
        </p:txBody>
      </p:sp>
    </p:spTree>
    <p:extLst>
      <p:ext uri="{BB962C8B-B14F-4D97-AF65-F5344CB8AC3E}">
        <p14:creationId xmlns:p14="http://schemas.microsoft.com/office/powerpoint/2010/main" val="6634071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IOS + PRESENT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95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1582341"/>
            <a:ext cx="7870744"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ios</a:t>
            </a:r>
            <a:r>
              <a:rPr lang="en-US" sz="12000" b="1" i="0" baseline="0" dirty="0" smtClean="0">
                <a:solidFill>
                  <a:schemeClr val="bg1"/>
                </a:solidFill>
                <a:latin typeface="Arial" panose="020B0604020202020204" pitchFamily="34" charset="0"/>
                <a:cs typeface="Arial" panose="020B0604020202020204" pitchFamily="34" charset="0"/>
              </a:rPr>
              <a:t> + </a:t>
            </a:r>
          </a:p>
          <a:p>
            <a:pPr algn="l"/>
            <a:r>
              <a:rPr lang="en-US" sz="12000" b="1" i="0" baseline="0" dirty="0" smtClean="0">
                <a:solidFill>
                  <a:schemeClr val="bg1"/>
                </a:solidFill>
                <a:latin typeface="Arial" panose="020B0604020202020204" pitchFamily="34" charset="0"/>
                <a:cs typeface="Arial" panose="020B0604020202020204" pitchFamily="34" charset="0"/>
              </a:rPr>
              <a:t>presenter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013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857"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1"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742143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88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baseline="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101136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90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222" cy="1704974"/>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smtClean="0"/>
              <a:t>Edit Master text styles</a:t>
            </a:r>
          </a:p>
          <a:p>
            <a:pPr lvl="1"/>
            <a:r>
              <a:rPr lang="en-US" smtClean="0"/>
              <a:t>Second level</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smtClean="0"/>
              <a:t>Edit Master text styles</a:t>
            </a:r>
          </a:p>
          <a:p>
            <a:pPr lvl="1"/>
            <a:r>
              <a:rPr lang="en-US" smtClean="0"/>
              <a:t>Second level</a:t>
            </a:r>
          </a:p>
        </p:txBody>
      </p:sp>
      <p:sp>
        <p:nvSpPr>
          <p:cNvPr id="23"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4"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6399"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5002840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92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3"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3" y="1620838"/>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14"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17"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1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1"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3"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4"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5"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dirty="0"/>
              <a:t>Click to short biography</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7"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224"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8"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3" y="3879092"/>
            <a:ext cx="1660527" cy="170497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 Reset slide layout if needed.</a:t>
            </a:r>
            <a:endParaRPr lang="en-US" dirty="0"/>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853025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22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2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26"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35"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6"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2"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3"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dirty="0" smtClean="0"/>
              <a:t>Click icon to add picture. Use “Crop” feature on “Format” tab to resize or reposition picture once added.</a:t>
            </a:r>
            <a:endParaRPr lang="en-US" dirty="0"/>
          </a:p>
        </p:txBody>
      </p:sp>
      <p:sp>
        <p:nvSpPr>
          <p:cNvPr id="47"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48"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49"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0"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
        <p:nvSpPr>
          <p:cNvPr id="51"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name</a:t>
            </a:r>
          </a:p>
        </p:txBody>
      </p:sp>
      <p:sp>
        <p:nvSpPr>
          <p:cNvPr id="52"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title</a:t>
            </a:r>
          </a:p>
        </p:txBody>
      </p:sp>
    </p:spTree>
    <p:extLst>
      <p:ext uri="{BB962C8B-B14F-4D97-AF65-F5344CB8AC3E}">
        <p14:creationId xmlns:p14="http://schemas.microsoft.com/office/powerpoint/2010/main" val="26382005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7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01131"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Quot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9376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977"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tx2"/>
                </a:solidFill>
              </a:defRPr>
            </a:lvl1pPr>
          </a:lstStyle>
          <a:p>
            <a:r>
              <a:rPr lang="en-US" dirty="0" smtClean="0"/>
              <a:t>Click to add quote</a:t>
            </a:r>
            <a:endParaRPr lang="en-US" dirty="0"/>
          </a:p>
        </p:txBody>
      </p:sp>
    </p:spTree>
    <p:extLst>
      <p:ext uri="{BB962C8B-B14F-4D97-AF65-F5344CB8AC3E}">
        <p14:creationId xmlns:p14="http://schemas.microsoft.com/office/powerpoint/2010/main" val="912162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2"/>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001"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spcBef>
                <a:spcPts val="0"/>
              </a:spcBef>
              <a:spcAft>
                <a:spcPts val="0"/>
              </a:spcAft>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dirty="0">
                <a:effectLst/>
                <a:latin typeface="Arial" panose="020B0604020202020204" pitchFamily="34" charset="0"/>
              </a:rPr>
              <a:t>Click to add author</a:t>
            </a:r>
          </a:p>
        </p:txBody>
      </p:sp>
      <p:sp>
        <p:nvSpPr>
          <p:cNvPr id="9" name="TextBox 8">
            <a:extLst>
              <a:ext uri="{FF2B5EF4-FFF2-40B4-BE49-F238E27FC236}">
                <a16:creationId xmlns:a16="http://schemas.microsoft.com/office/drawing/2014/main" id="{02A92D50-B69F-614A-9C8F-D600BB0D9EB1}"/>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dirty="0">
              <a:solidFill>
                <a:schemeClr val="bg1"/>
              </a:solidFill>
              <a:effectLst/>
              <a:latin typeface="+mn-lt"/>
              <a:ea typeface="+mn-ea"/>
              <a:cs typeface="+mn-cs"/>
            </a:endParaRPr>
          </a:p>
        </p:txBody>
      </p:sp>
      <p:sp>
        <p:nvSpPr>
          <p:cNvPr id="6" name="Title 1"/>
          <p:cNvSpPr>
            <a:spLocks noGrp="1"/>
          </p:cNvSpPr>
          <p:nvPr>
            <p:ph type="title" hasCustomPrompt="1"/>
          </p:nvPr>
        </p:nvSpPr>
        <p:spPr>
          <a:xfrm>
            <a:off x="482600" y="1807779"/>
            <a:ext cx="7404101" cy="3061084"/>
          </a:xfrm>
        </p:spPr>
        <p:txBody>
          <a:bodyPr/>
          <a:lstStyle>
            <a:lvl1pPr>
              <a:defRPr sz="5400">
                <a:solidFill>
                  <a:schemeClr val="bg1"/>
                </a:solidFill>
              </a:defRPr>
            </a:lvl1pPr>
          </a:lstStyle>
          <a:p>
            <a:r>
              <a:rPr lang="en-US" dirty="0" smtClean="0"/>
              <a:t>Click to add quote</a:t>
            </a:r>
            <a:endParaRPr lang="en-US" dirty="0"/>
          </a:p>
        </p:txBody>
      </p:sp>
    </p:spTree>
    <p:extLst>
      <p:ext uri="{BB962C8B-B14F-4D97-AF65-F5344CB8AC3E}">
        <p14:creationId xmlns:p14="http://schemas.microsoft.com/office/powerpoint/2010/main" val="389739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519"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2442386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INTERACTIVE ELEMENT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96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1582341"/>
            <a:ext cx="7700826" cy="369331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Interactive</a:t>
            </a:r>
          </a:p>
          <a:p>
            <a:pPr algn="l"/>
            <a:r>
              <a:rPr lang="en-US" sz="12000" b="1" i="0" dirty="0" smtClean="0">
                <a:solidFill>
                  <a:schemeClr val="bg1"/>
                </a:solidFill>
                <a:latin typeface="Arial" panose="020B0604020202020204" pitchFamily="34" charset="0"/>
                <a:cs typeface="Arial" panose="020B0604020202020204" pitchFamily="34" charset="0"/>
              </a:rPr>
              <a:t>element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7634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nteractive top">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4991"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866775"/>
            <a:ext cx="11461750"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394451"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1311632"/>
            <a:ext cx="11461750"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3" name="Rectangle 2"/>
          <p:cNvSpPr/>
          <p:nvPr userDrawn="1"/>
        </p:nvSpPr>
        <p:spPr>
          <a:xfrm>
            <a:off x="2815" y="-1"/>
            <a:ext cx="12189185" cy="6137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Rectangle 6"/>
          <p:cNvSpPr/>
          <p:nvPr userDrawn="1"/>
        </p:nvSpPr>
        <p:spPr>
          <a:xfrm>
            <a:off x="485776"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1</a:t>
            </a:r>
            <a:endParaRPr lang="en-GB" sz="1400" dirty="0"/>
          </a:p>
        </p:txBody>
      </p:sp>
      <p:sp>
        <p:nvSpPr>
          <p:cNvPr id="8" name="Rectangle 7"/>
          <p:cNvSpPr/>
          <p:nvPr userDrawn="1"/>
        </p:nvSpPr>
        <p:spPr>
          <a:xfrm>
            <a:off x="2437449"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2</a:t>
            </a:r>
            <a:endParaRPr lang="en-GB" sz="1400" dirty="0"/>
          </a:p>
        </p:txBody>
      </p:sp>
      <p:sp>
        <p:nvSpPr>
          <p:cNvPr id="9" name="Rectangle 8"/>
          <p:cNvSpPr/>
          <p:nvPr userDrawn="1"/>
        </p:nvSpPr>
        <p:spPr>
          <a:xfrm>
            <a:off x="4389122"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3</a:t>
            </a:r>
            <a:endParaRPr lang="en-GB" sz="1400" dirty="0"/>
          </a:p>
        </p:txBody>
      </p:sp>
      <p:sp>
        <p:nvSpPr>
          <p:cNvPr id="10" name="Rectangle 9"/>
          <p:cNvSpPr/>
          <p:nvPr userDrawn="1"/>
        </p:nvSpPr>
        <p:spPr>
          <a:xfrm>
            <a:off x="6340795"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4</a:t>
            </a:r>
            <a:endParaRPr lang="en-GB" sz="1400" dirty="0"/>
          </a:p>
        </p:txBody>
      </p:sp>
      <p:sp>
        <p:nvSpPr>
          <p:cNvPr id="11" name="Rectangle 10"/>
          <p:cNvSpPr/>
          <p:nvPr userDrawn="1"/>
        </p:nvSpPr>
        <p:spPr>
          <a:xfrm>
            <a:off x="829246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5</a:t>
            </a:r>
            <a:endParaRPr lang="en-GB" sz="1400" dirty="0"/>
          </a:p>
        </p:txBody>
      </p:sp>
      <p:sp>
        <p:nvSpPr>
          <p:cNvPr id="12" name="Rectangle 11"/>
          <p:cNvSpPr/>
          <p:nvPr userDrawn="1"/>
        </p:nvSpPr>
        <p:spPr>
          <a:xfrm>
            <a:off x="10244138" y="2248"/>
            <a:ext cx="1704973" cy="61370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smtClean="0"/>
              <a:t>Section</a:t>
            </a:r>
            <a:r>
              <a:rPr lang="en-GB" sz="1400" baseline="0" dirty="0" smtClean="0"/>
              <a:t> 6</a:t>
            </a:r>
            <a:endParaRPr lang="en-GB" sz="1400" dirty="0"/>
          </a:p>
        </p:txBody>
      </p:sp>
      <p:cxnSp>
        <p:nvCxnSpPr>
          <p:cNvPr id="14" name="Straight Connector 13"/>
          <p:cNvCxnSpPr/>
          <p:nvPr userDrawn="1"/>
        </p:nvCxnSpPr>
        <p:spPr>
          <a:xfrm>
            <a:off x="2314099"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4265772"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217445"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69118"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0120791" y="114647"/>
            <a:ext cx="0" cy="381035"/>
          </a:xfrm>
          <a:prstGeom prst="line">
            <a:avLst/>
          </a:prstGeom>
          <a:ln w="635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1168031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nteractiv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01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54292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8" name="Rectangle 7"/>
          <p:cNvSpPr/>
          <p:nvPr userDrawn="1"/>
        </p:nvSpPr>
        <p:spPr>
          <a:xfrm>
            <a:off x="10239375" y="3176"/>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1</a:t>
            </a:r>
            <a:endParaRPr lang="en-GB" sz="1400" dirty="0"/>
          </a:p>
        </p:txBody>
      </p:sp>
      <p:sp>
        <p:nvSpPr>
          <p:cNvPr id="9" name="Rectangle 8"/>
          <p:cNvSpPr/>
          <p:nvPr userDrawn="1"/>
        </p:nvSpPr>
        <p:spPr>
          <a:xfrm>
            <a:off x="10239375" y="1146251"/>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 </a:t>
            </a:r>
            <a:r>
              <a:rPr lang="en-GB" sz="1400" baseline="0" dirty="0" smtClean="0"/>
              <a:t>2</a:t>
            </a:r>
            <a:endParaRPr lang="en-GB" sz="1400" dirty="0"/>
          </a:p>
        </p:txBody>
      </p:sp>
      <p:sp>
        <p:nvSpPr>
          <p:cNvPr id="10" name="Rectangle 9"/>
          <p:cNvSpPr/>
          <p:nvPr userDrawn="1"/>
        </p:nvSpPr>
        <p:spPr>
          <a:xfrm>
            <a:off x="10239375" y="228932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3</a:t>
            </a:r>
            <a:endParaRPr lang="en-GB" sz="1400" dirty="0"/>
          </a:p>
        </p:txBody>
      </p:sp>
      <p:sp>
        <p:nvSpPr>
          <p:cNvPr id="11" name="Rectangle 10"/>
          <p:cNvSpPr/>
          <p:nvPr userDrawn="1"/>
        </p:nvSpPr>
        <p:spPr>
          <a:xfrm>
            <a:off x="10239375" y="3432400"/>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4</a:t>
            </a:r>
            <a:endParaRPr lang="en-GB" sz="1400" dirty="0"/>
          </a:p>
        </p:txBody>
      </p:sp>
      <p:sp>
        <p:nvSpPr>
          <p:cNvPr id="12" name="Rectangle 11"/>
          <p:cNvSpPr/>
          <p:nvPr userDrawn="1"/>
        </p:nvSpPr>
        <p:spPr>
          <a:xfrm>
            <a:off x="10239375" y="4575475"/>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5</a:t>
            </a:r>
            <a:endParaRPr lang="en-GB" sz="1400" dirty="0"/>
          </a:p>
        </p:txBody>
      </p:sp>
      <p:sp>
        <p:nvSpPr>
          <p:cNvPr id="14" name="Rectangle 13"/>
          <p:cNvSpPr/>
          <p:nvPr userDrawn="1"/>
        </p:nvSpPr>
        <p:spPr>
          <a:xfrm>
            <a:off x="10239375" y="5718547"/>
            <a:ext cx="1952625" cy="1139452"/>
          </a:xfrm>
          <a:prstGeom prst="rect">
            <a:avLst/>
          </a:prstGeom>
          <a:solidFill>
            <a:schemeClr val="tx2"/>
          </a:solidFill>
          <a:ln w="635">
            <a:solidFill>
              <a:schemeClr val="accent1">
                <a:lumMod val="60000"/>
                <a:lumOff val="40000"/>
                <a:alpha val="10000"/>
              </a:schemeClr>
            </a:solidFill>
          </a:ln>
          <a:effectLst/>
        </p:spPr>
        <p:style>
          <a:lnRef idx="1">
            <a:schemeClr val="accent1"/>
          </a:lnRef>
          <a:fillRef idx="3">
            <a:schemeClr val="accent1"/>
          </a:fillRef>
          <a:effectRef idx="2">
            <a:schemeClr val="accent1"/>
          </a:effectRef>
          <a:fontRef idx="minor">
            <a:schemeClr val="lt1"/>
          </a:fontRef>
        </p:style>
        <p:txBody>
          <a:bodyPr lIns="72000" tIns="180000" rIns="72000" bIns="180000" rtlCol="0" anchor="b" anchorCtr="0"/>
          <a:lstStyle/>
          <a:p>
            <a:pPr algn="ctr"/>
            <a:r>
              <a:rPr lang="en-GB" sz="1400" dirty="0" smtClean="0"/>
              <a:t>Section</a:t>
            </a:r>
            <a:r>
              <a:rPr lang="en-GB" sz="1400" baseline="0" dirty="0" smtClean="0"/>
              <a:t> 6</a:t>
            </a:r>
            <a:endParaRPr lang="en-GB" sz="1400" dirty="0"/>
          </a:p>
        </p:txBody>
      </p:sp>
      <p:sp>
        <p:nvSpPr>
          <p:cNvPr id="18" name="Freeform 10"/>
          <p:cNvSpPr>
            <a:spLocks noEditPoints="1"/>
          </p:cNvSpPr>
          <p:nvPr userDrawn="1"/>
        </p:nvSpPr>
        <p:spPr bwMode="auto">
          <a:xfrm>
            <a:off x="11069333" y="142442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081842" y="4837714"/>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081216" y="2554763"/>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081841" y="5970546"/>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055573" y="291565"/>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063704" y="3701460"/>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TextBox 29"/>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423126529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nteractive right condensed">
    <p:spTree>
      <p:nvGrpSpPr>
        <p:cNvPr id="1" name=""/>
        <p:cNvGrpSpPr/>
        <p:nvPr/>
      </p:nvGrpSpPr>
      <p:grpSpPr>
        <a:xfrm>
          <a:off x="0" y="0"/>
          <a:ext cx="0" cy="0"/>
          <a:chOff x="0" y="0"/>
          <a:chExt cx="0" cy="0"/>
        </a:xfrm>
      </p:grpSpPr>
      <p:sp>
        <p:nvSpPr>
          <p:cNvPr id="88" name="Rectangle 87"/>
          <p:cNvSpPr/>
          <p:nvPr userDrawn="1"/>
        </p:nvSpPr>
        <p:spPr>
          <a:xfrm>
            <a:off x="10033000" y="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6" name="Rectangle 65"/>
          <p:cNvSpPr/>
          <p:nvPr userDrawn="1"/>
        </p:nvSpPr>
        <p:spPr>
          <a:xfrm>
            <a:off x="10033000" y="68568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Rectangle 66"/>
          <p:cNvSpPr/>
          <p:nvPr userDrawn="1"/>
        </p:nvSpPr>
        <p:spPr>
          <a:xfrm>
            <a:off x="10033000" y="1371364"/>
            <a:ext cx="2159000" cy="68685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3" name="Rectangle 102"/>
          <p:cNvSpPr/>
          <p:nvPr userDrawn="1"/>
        </p:nvSpPr>
        <p:spPr>
          <a:xfrm>
            <a:off x="10033000" y="205704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4" name="Rectangle 103"/>
          <p:cNvSpPr/>
          <p:nvPr userDrawn="1"/>
        </p:nvSpPr>
        <p:spPr>
          <a:xfrm>
            <a:off x="10033000" y="2742728"/>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5" name="Rectangle 104"/>
          <p:cNvSpPr/>
          <p:nvPr userDrawn="1"/>
        </p:nvSpPr>
        <p:spPr>
          <a:xfrm>
            <a:off x="10033000" y="3428410"/>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6" name="Rectangle 105"/>
          <p:cNvSpPr/>
          <p:nvPr userDrawn="1"/>
        </p:nvSpPr>
        <p:spPr>
          <a:xfrm>
            <a:off x="10033000" y="411409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7" name="Rectangle 106"/>
          <p:cNvSpPr/>
          <p:nvPr userDrawn="1"/>
        </p:nvSpPr>
        <p:spPr>
          <a:xfrm>
            <a:off x="10033000" y="4799774"/>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8" name="Rectangle 107"/>
          <p:cNvSpPr/>
          <p:nvPr userDrawn="1"/>
        </p:nvSpPr>
        <p:spPr>
          <a:xfrm>
            <a:off x="10033000" y="5485456"/>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9" name="Rectangle 108"/>
          <p:cNvSpPr/>
          <p:nvPr userDrawn="1"/>
        </p:nvSpPr>
        <p:spPr>
          <a:xfrm>
            <a:off x="10033000" y="6171142"/>
            <a:ext cx="2159000" cy="68685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03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5200650"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grpSp>
        <p:nvGrpSpPr>
          <p:cNvPr id="100" name="Group 99"/>
          <p:cNvGrpSpPr/>
          <p:nvPr userDrawn="1"/>
        </p:nvGrpSpPr>
        <p:grpSpPr>
          <a:xfrm>
            <a:off x="10460877" y="866671"/>
            <a:ext cx="1208299" cy="268942"/>
            <a:chOff x="10460877" y="887251"/>
            <a:chExt cx="1208299" cy="268942"/>
          </a:xfrm>
        </p:grpSpPr>
        <p:sp>
          <p:nvSpPr>
            <p:cNvPr id="9" name="Rectangle 8"/>
            <p:cNvSpPr/>
            <p:nvPr userDrawn="1"/>
          </p:nvSpPr>
          <p:spPr>
            <a:xfrm>
              <a:off x="10922177" y="91399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2</a:t>
              </a:r>
              <a:endParaRPr lang="en-GB" sz="1400" dirty="0">
                <a:solidFill>
                  <a:schemeClr val="accent2"/>
                </a:solidFill>
              </a:endParaRPr>
            </a:p>
          </p:txBody>
        </p:sp>
        <p:sp>
          <p:nvSpPr>
            <p:cNvPr id="68" name="Freeform 10"/>
            <p:cNvSpPr>
              <a:spLocks noEditPoints="1"/>
            </p:cNvSpPr>
            <p:nvPr userDrawn="1"/>
          </p:nvSpPr>
          <p:spPr bwMode="auto">
            <a:xfrm>
              <a:off x="10460877" y="88725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p:cNvGrpSpPr/>
          <p:nvPr userDrawn="1"/>
        </p:nvGrpSpPr>
        <p:grpSpPr>
          <a:xfrm>
            <a:off x="10473386" y="2911468"/>
            <a:ext cx="1195790" cy="317727"/>
            <a:chOff x="10473386" y="2964687"/>
            <a:chExt cx="1195790" cy="317727"/>
          </a:xfrm>
        </p:grpSpPr>
        <p:sp>
          <p:nvSpPr>
            <p:cNvPr id="12" name="Rectangle 11"/>
            <p:cNvSpPr/>
            <p:nvPr userDrawn="1"/>
          </p:nvSpPr>
          <p:spPr>
            <a:xfrm>
              <a:off x="10922177" y="2977382"/>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5</a:t>
              </a:r>
              <a:endParaRPr lang="en-GB" sz="1400" dirty="0">
                <a:solidFill>
                  <a:schemeClr val="accent2"/>
                </a:solidFill>
              </a:endParaRPr>
            </a:p>
          </p:txBody>
        </p:sp>
        <p:sp>
          <p:nvSpPr>
            <p:cNvPr id="69" name="Freeform 23"/>
            <p:cNvSpPr>
              <a:spLocks noEditPoints="1"/>
            </p:cNvSpPr>
            <p:nvPr userDrawn="1"/>
          </p:nvSpPr>
          <p:spPr bwMode="auto">
            <a:xfrm>
              <a:off x="10473386" y="2964687"/>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9" name="Group 98"/>
          <p:cNvGrpSpPr/>
          <p:nvPr userDrawn="1"/>
        </p:nvGrpSpPr>
        <p:grpSpPr>
          <a:xfrm>
            <a:off x="10472760" y="1522001"/>
            <a:ext cx="1196416" cy="323982"/>
            <a:chOff x="10472760" y="1547526"/>
            <a:chExt cx="1196416" cy="323982"/>
          </a:xfrm>
        </p:grpSpPr>
        <p:sp>
          <p:nvSpPr>
            <p:cNvPr id="10" name="Rectangle 9"/>
            <p:cNvSpPr/>
            <p:nvPr userDrawn="1"/>
          </p:nvSpPr>
          <p:spPr>
            <a:xfrm>
              <a:off x="10922177" y="1601794"/>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bg1"/>
                  </a:solidFill>
                </a:rPr>
                <a:t>Section</a:t>
              </a:r>
              <a:r>
                <a:rPr lang="en-GB" sz="1400" baseline="0" dirty="0" smtClean="0">
                  <a:solidFill>
                    <a:schemeClr val="bg1"/>
                  </a:solidFill>
                </a:rPr>
                <a:t> 3</a:t>
              </a:r>
              <a:endParaRPr lang="en-GB" sz="1400" dirty="0">
                <a:solidFill>
                  <a:schemeClr val="bg1"/>
                </a:solidFill>
              </a:endParaRPr>
            </a:p>
          </p:txBody>
        </p:sp>
        <p:grpSp>
          <p:nvGrpSpPr>
            <p:cNvPr id="70" name="Group 13"/>
            <p:cNvGrpSpPr>
              <a:grpSpLocks noChangeAspect="1"/>
            </p:cNvGrpSpPr>
            <p:nvPr userDrawn="1"/>
          </p:nvGrpSpPr>
          <p:grpSpPr bwMode="auto">
            <a:xfrm>
              <a:off x="10472760" y="1547526"/>
              <a:ext cx="268942" cy="323982"/>
              <a:chOff x="292" y="2131"/>
              <a:chExt cx="215" cy="259"/>
            </a:xfrm>
            <a:solidFill>
              <a:schemeClr val="bg1"/>
            </a:solidFill>
          </p:grpSpPr>
          <p:sp>
            <p:nvSpPr>
              <p:cNvPr id="7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Group 23"/>
          <p:cNvGrpSpPr/>
          <p:nvPr userDrawn="1"/>
        </p:nvGrpSpPr>
        <p:grpSpPr>
          <a:xfrm>
            <a:off x="10473385" y="3615583"/>
            <a:ext cx="1195791" cy="317727"/>
            <a:chOff x="10473385" y="3630879"/>
            <a:chExt cx="1195791" cy="317727"/>
          </a:xfrm>
        </p:grpSpPr>
        <p:sp>
          <p:nvSpPr>
            <p:cNvPr id="14" name="Rectangle 13"/>
            <p:cNvSpPr/>
            <p:nvPr userDrawn="1"/>
          </p:nvSpPr>
          <p:spPr>
            <a:xfrm>
              <a:off x="10922177" y="3665176"/>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6</a:t>
              </a:r>
              <a:endParaRPr lang="en-GB" sz="1400" dirty="0">
                <a:solidFill>
                  <a:schemeClr val="accent2"/>
                </a:solidFill>
              </a:endParaRPr>
            </a:p>
          </p:txBody>
        </p:sp>
        <p:grpSp>
          <p:nvGrpSpPr>
            <p:cNvPr id="73" name="Group 26"/>
            <p:cNvGrpSpPr>
              <a:grpSpLocks noChangeAspect="1"/>
            </p:cNvGrpSpPr>
            <p:nvPr userDrawn="1"/>
          </p:nvGrpSpPr>
          <p:grpSpPr bwMode="auto">
            <a:xfrm>
              <a:off x="10473385" y="3630879"/>
              <a:ext cx="267692" cy="317727"/>
              <a:chOff x="3091" y="1784"/>
              <a:chExt cx="214" cy="254"/>
            </a:xfrm>
            <a:solidFill>
              <a:schemeClr val="accent2"/>
            </a:solidFill>
          </p:grpSpPr>
          <p:sp>
            <p:nvSpPr>
              <p:cNvPr id="7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1" name="Group 100"/>
          <p:cNvGrpSpPr/>
          <p:nvPr userDrawn="1"/>
        </p:nvGrpSpPr>
        <p:grpSpPr>
          <a:xfrm>
            <a:off x="10447117" y="187574"/>
            <a:ext cx="1222059" cy="292709"/>
            <a:chOff x="10447117" y="187574"/>
            <a:chExt cx="1222059" cy="292709"/>
          </a:xfrm>
        </p:grpSpPr>
        <p:sp>
          <p:nvSpPr>
            <p:cNvPr id="8" name="Rectangle 7"/>
            <p:cNvSpPr/>
            <p:nvPr userDrawn="1"/>
          </p:nvSpPr>
          <p:spPr>
            <a:xfrm>
              <a:off x="10922177" y="22620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a:t>
              </a:r>
              <a:endParaRPr lang="en-GB" sz="1400" dirty="0">
                <a:solidFill>
                  <a:schemeClr val="accent2"/>
                </a:solidFill>
              </a:endParaRPr>
            </a:p>
          </p:txBody>
        </p:sp>
        <p:grpSp>
          <p:nvGrpSpPr>
            <p:cNvPr id="76" name="Group 4"/>
            <p:cNvGrpSpPr>
              <a:grpSpLocks noChangeAspect="1"/>
            </p:cNvGrpSpPr>
            <p:nvPr userDrawn="1"/>
          </p:nvGrpSpPr>
          <p:grpSpPr bwMode="auto">
            <a:xfrm>
              <a:off x="10447117" y="187574"/>
              <a:ext cx="320229" cy="292709"/>
              <a:chOff x="293" y="695"/>
              <a:chExt cx="256" cy="234"/>
            </a:xfrm>
            <a:solidFill>
              <a:schemeClr val="accent2"/>
            </a:solidFill>
          </p:grpSpPr>
          <p:sp>
            <p:nvSpPr>
              <p:cNvPr id="7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p:nvPr userDrawn="1"/>
        </p:nvGrpSpPr>
        <p:grpSpPr>
          <a:xfrm>
            <a:off x="10455248" y="2232371"/>
            <a:ext cx="1213928" cy="292709"/>
            <a:chOff x="10455248" y="2259847"/>
            <a:chExt cx="1213928" cy="292709"/>
          </a:xfrm>
        </p:grpSpPr>
        <p:sp>
          <p:nvSpPr>
            <p:cNvPr id="11" name="Rectangle 10"/>
            <p:cNvSpPr/>
            <p:nvPr userDrawn="1"/>
          </p:nvSpPr>
          <p:spPr>
            <a:xfrm>
              <a:off x="10922177" y="2289588"/>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4</a:t>
              </a:r>
              <a:endParaRPr lang="en-GB" sz="1400" dirty="0">
                <a:solidFill>
                  <a:schemeClr val="accent2"/>
                </a:solidFill>
              </a:endParaRPr>
            </a:p>
          </p:txBody>
        </p:sp>
        <p:sp>
          <p:nvSpPr>
            <p:cNvPr id="79" name="Freeform 19"/>
            <p:cNvSpPr>
              <a:spLocks noEditPoints="1"/>
            </p:cNvSpPr>
            <p:nvPr userDrawn="1"/>
          </p:nvSpPr>
          <p:spPr bwMode="auto">
            <a:xfrm>
              <a:off x="10455248" y="225984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p:cNvGrpSpPr/>
          <p:nvPr userDrawn="1"/>
        </p:nvGrpSpPr>
        <p:grpSpPr>
          <a:xfrm>
            <a:off x="10460877" y="4998795"/>
            <a:ext cx="1208299" cy="268942"/>
            <a:chOff x="10460877" y="4991891"/>
            <a:chExt cx="1208299" cy="268942"/>
          </a:xfrm>
        </p:grpSpPr>
        <p:sp>
          <p:nvSpPr>
            <p:cNvPr id="21" name="Rectangle 20"/>
            <p:cNvSpPr/>
            <p:nvPr userDrawn="1"/>
          </p:nvSpPr>
          <p:spPr>
            <a:xfrm>
              <a:off x="10922177" y="5040765"/>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 </a:t>
              </a:r>
              <a:r>
                <a:rPr lang="en-GB" sz="1400" baseline="0" dirty="0" smtClean="0">
                  <a:solidFill>
                    <a:schemeClr val="accent2"/>
                  </a:solidFill>
                </a:rPr>
                <a:t>8</a:t>
              </a:r>
              <a:endParaRPr lang="en-GB" sz="1400" dirty="0">
                <a:solidFill>
                  <a:schemeClr val="accent2"/>
                </a:solidFill>
              </a:endParaRPr>
            </a:p>
          </p:txBody>
        </p:sp>
        <p:sp>
          <p:nvSpPr>
            <p:cNvPr id="80" name="Freeform 10"/>
            <p:cNvSpPr>
              <a:spLocks noEditPoints="1"/>
            </p:cNvSpPr>
            <p:nvPr userDrawn="1"/>
          </p:nvSpPr>
          <p:spPr bwMode="auto">
            <a:xfrm>
              <a:off x="10460877" y="4991891"/>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p:cNvGrpSpPr/>
          <p:nvPr userDrawn="1"/>
        </p:nvGrpSpPr>
        <p:grpSpPr>
          <a:xfrm>
            <a:off x="10472760" y="5654125"/>
            <a:ext cx="1196416" cy="323982"/>
            <a:chOff x="10472760" y="5652166"/>
            <a:chExt cx="1196416" cy="323982"/>
          </a:xfrm>
        </p:grpSpPr>
        <p:sp>
          <p:nvSpPr>
            <p:cNvPr id="22" name="Rectangle 21"/>
            <p:cNvSpPr/>
            <p:nvPr userDrawn="1"/>
          </p:nvSpPr>
          <p:spPr>
            <a:xfrm>
              <a:off x="10922177" y="5728559"/>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9</a:t>
              </a:r>
              <a:endParaRPr lang="en-GB" sz="1400" dirty="0">
                <a:solidFill>
                  <a:schemeClr val="accent2"/>
                </a:solidFill>
              </a:endParaRPr>
            </a:p>
          </p:txBody>
        </p:sp>
        <p:grpSp>
          <p:nvGrpSpPr>
            <p:cNvPr id="81" name="Group 13"/>
            <p:cNvGrpSpPr>
              <a:grpSpLocks noChangeAspect="1"/>
            </p:cNvGrpSpPr>
            <p:nvPr userDrawn="1"/>
          </p:nvGrpSpPr>
          <p:grpSpPr bwMode="auto">
            <a:xfrm>
              <a:off x="10472760" y="5652166"/>
              <a:ext cx="268942" cy="323982"/>
              <a:chOff x="292" y="2131"/>
              <a:chExt cx="215" cy="259"/>
            </a:xfrm>
            <a:solidFill>
              <a:schemeClr val="accent2"/>
            </a:solidFill>
          </p:grpSpPr>
          <p:sp>
            <p:nvSpPr>
              <p:cNvPr id="82"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p:cNvGrpSpPr/>
          <p:nvPr userDrawn="1"/>
        </p:nvGrpSpPr>
        <p:grpSpPr>
          <a:xfrm>
            <a:off x="10447117" y="4319698"/>
            <a:ext cx="1222059" cy="292709"/>
            <a:chOff x="10447117" y="4292214"/>
            <a:chExt cx="1222059" cy="292709"/>
          </a:xfrm>
        </p:grpSpPr>
        <p:sp>
          <p:nvSpPr>
            <p:cNvPr id="20" name="Rectangle 19"/>
            <p:cNvSpPr/>
            <p:nvPr userDrawn="1"/>
          </p:nvSpPr>
          <p:spPr>
            <a:xfrm>
              <a:off x="10922177" y="4352971"/>
              <a:ext cx="746999"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7</a:t>
              </a:r>
              <a:endParaRPr lang="en-GB" sz="1400" dirty="0">
                <a:solidFill>
                  <a:schemeClr val="accent2"/>
                </a:solidFill>
              </a:endParaRPr>
            </a:p>
          </p:txBody>
        </p:sp>
        <p:grpSp>
          <p:nvGrpSpPr>
            <p:cNvPr id="84" name="Group 4"/>
            <p:cNvGrpSpPr>
              <a:grpSpLocks noChangeAspect="1"/>
            </p:cNvGrpSpPr>
            <p:nvPr userDrawn="1"/>
          </p:nvGrpSpPr>
          <p:grpSpPr bwMode="auto">
            <a:xfrm>
              <a:off x="10447117" y="4292214"/>
              <a:ext cx="320229" cy="292709"/>
              <a:chOff x="293" y="695"/>
              <a:chExt cx="256" cy="234"/>
            </a:xfrm>
            <a:solidFill>
              <a:schemeClr val="accent2"/>
            </a:solidFill>
          </p:grpSpPr>
          <p:sp>
            <p:nvSpPr>
              <p:cNvPr id="85"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6" name="Group 15"/>
          <p:cNvGrpSpPr/>
          <p:nvPr userDrawn="1"/>
        </p:nvGrpSpPr>
        <p:grpSpPr>
          <a:xfrm>
            <a:off x="10455248" y="6364487"/>
            <a:ext cx="1313315" cy="292709"/>
            <a:chOff x="10455248" y="6364487"/>
            <a:chExt cx="1313315" cy="292709"/>
          </a:xfrm>
        </p:grpSpPr>
        <p:sp>
          <p:nvSpPr>
            <p:cNvPr id="23" name="Rectangle 22"/>
            <p:cNvSpPr/>
            <p:nvPr userDrawn="1"/>
          </p:nvSpPr>
          <p:spPr>
            <a:xfrm>
              <a:off x="10922177" y="6416349"/>
              <a:ext cx="846386" cy="215444"/>
            </a:xfrm>
            <a:prstGeom prst="rect">
              <a:avLst/>
            </a:prstGeom>
            <a:noFill/>
            <a:ln w="635">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0">
              <a:spAutoFit/>
            </a:bodyPr>
            <a:lstStyle/>
            <a:p>
              <a:pPr algn="l"/>
              <a:r>
                <a:rPr lang="en-GB" sz="1400" dirty="0" smtClean="0">
                  <a:solidFill>
                    <a:schemeClr val="accent2"/>
                  </a:solidFill>
                </a:rPr>
                <a:t>Section</a:t>
              </a:r>
              <a:r>
                <a:rPr lang="en-GB" sz="1400" baseline="0" dirty="0" smtClean="0">
                  <a:solidFill>
                    <a:schemeClr val="accent2"/>
                  </a:solidFill>
                </a:rPr>
                <a:t> 10</a:t>
              </a:r>
              <a:endParaRPr lang="en-GB" sz="1400" dirty="0">
                <a:solidFill>
                  <a:schemeClr val="accent2"/>
                </a:solidFill>
              </a:endParaRPr>
            </a:p>
          </p:txBody>
        </p:sp>
        <p:sp>
          <p:nvSpPr>
            <p:cNvPr id="87" name="Freeform 19"/>
            <p:cNvSpPr>
              <a:spLocks noEditPoints="1"/>
            </p:cNvSpPr>
            <p:nvPr userDrawn="1"/>
          </p:nvSpPr>
          <p:spPr bwMode="auto">
            <a:xfrm>
              <a:off x="10455248" y="6364487"/>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89" name="Straight Connector 88"/>
          <p:cNvCxnSpPr/>
          <p:nvPr userDrawn="1"/>
        </p:nvCxnSpPr>
        <p:spPr>
          <a:xfrm>
            <a:off x="10033000" y="68627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userDrawn="1"/>
        </p:nvCxnSpPr>
        <p:spPr>
          <a:xfrm>
            <a:off x="10033000" y="137195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userDrawn="1"/>
        </p:nvCxnSpPr>
        <p:spPr>
          <a:xfrm>
            <a:off x="10033000" y="205763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userDrawn="1"/>
        </p:nvCxnSpPr>
        <p:spPr>
          <a:xfrm>
            <a:off x="10033000" y="274331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userDrawn="1"/>
        </p:nvCxnSpPr>
        <p:spPr>
          <a:xfrm>
            <a:off x="10033000" y="3428998"/>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p:cNvCxnSpPr/>
          <p:nvPr userDrawn="1"/>
        </p:nvCxnSpPr>
        <p:spPr>
          <a:xfrm>
            <a:off x="10033000" y="4114680"/>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p:cNvCxnSpPr/>
          <p:nvPr userDrawn="1"/>
        </p:nvCxnSpPr>
        <p:spPr>
          <a:xfrm>
            <a:off x="10033000" y="4800362"/>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userDrawn="1"/>
        </p:nvCxnSpPr>
        <p:spPr>
          <a:xfrm>
            <a:off x="10033000" y="5486044"/>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userDrawn="1"/>
        </p:nvCxnSpPr>
        <p:spPr>
          <a:xfrm>
            <a:off x="10033000" y="6171726"/>
            <a:ext cx="2159000"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11284312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nteractive right icons">
    <p:spTree>
      <p:nvGrpSpPr>
        <p:cNvPr id="1" name=""/>
        <p:cNvGrpSpPr/>
        <p:nvPr/>
      </p:nvGrpSpPr>
      <p:grpSpPr>
        <a:xfrm>
          <a:off x="0" y="0"/>
          <a:ext cx="0" cy="0"/>
          <a:chOff x="0" y="0"/>
          <a:chExt cx="0" cy="0"/>
        </a:xfrm>
      </p:grpSpPr>
      <p:sp>
        <p:nvSpPr>
          <p:cNvPr id="3" name="Rectangle 2"/>
          <p:cNvSpPr/>
          <p:nvPr userDrawn="1"/>
        </p:nvSpPr>
        <p:spPr>
          <a:xfrm>
            <a:off x="10998200" y="0"/>
            <a:ext cx="1193800" cy="11420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Rectangle 38"/>
          <p:cNvSpPr/>
          <p:nvPr userDrawn="1"/>
        </p:nvSpPr>
        <p:spPr>
          <a:xfrm>
            <a:off x="10998200" y="1145870"/>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userDrawn="1"/>
        </p:nvSpPr>
        <p:spPr>
          <a:xfrm>
            <a:off x="10998200" y="2288863"/>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40"/>
          <p:cNvSpPr/>
          <p:nvPr userDrawn="1"/>
        </p:nvSpPr>
        <p:spPr>
          <a:xfrm>
            <a:off x="10998200" y="3427839"/>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41"/>
          <p:cNvSpPr/>
          <p:nvPr userDrawn="1"/>
        </p:nvSpPr>
        <p:spPr>
          <a:xfrm>
            <a:off x="10998200" y="4570832"/>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ectangle 42"/>
          <p:cNvSpPr/>
          <p:nvPr userDrawn="1"/>
        </p:nvSpPr>
        <p:spPr>
          <a:xfrm>
            <a:off x="10998200" y="5715007"/>
            <a:ext cx="1193800" cy="11429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userDrawn="1">
            <p:custDataLst>
              <p:tags r:id="rId2"/>
            </p:custDataLs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8059"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userDrawn="1">
            <p:ph type="title" hasCustomPrompt="1"/>
          </p:nvPr>
        </p:nvSpPr>
        <p:spPr>
          <a:xfrm>
            <a:off x="485776" y="361950"/>
            <a:ext cx="9509124" cy="504825"/>
          </a:xfrm>
        </p:spPr>
        <p:txBody>
          <a:bodyPr vert="horz"/>
          <a:lstStyle/>
          <a:p>
            <a:r>
              <a:rPr lang="en-US" dirty="0"/>
              <a:t>Click to add title</a:t>
            </a:r>
          </a:p>
        </p:txBody>
      </p:sp>
      <p:sp>
        <p:nvSpPr>
          <p:cNvPr id="5" name="Text Placeholder 3">
            <a:extLst>
              <a:ext uri="{FF2B5EF4-FFF2-40B4-BE49-F238E27FC236}">
                <a16:creationId xmlns:a16="http://schemas.microsoft.com/office/drawing/2014/main" id="{73D6335A-B440-264A-ADCF-510226FDCEF3}"/>
              </a:ext>
            </a:extLst>
          </p:cNvPr>
          <p:cNvSpPr>
            <a:spLocks noGrp="1"/>
          </p:cNvSpPr>
          <p:nvPr userDrawn="1">
            <p:ph type="body" sz="half" idx="15" hasCustomPrompt="1"/>
          </p:nvPr>
        </p:nvSpPr>
        <p:spPr>
          <a:xfrm>
            <a:off x="6162923" y="6388100"/>
            <a:ext cx="460375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6" name="Text Placeholder 3">
            <a:extLst>
              <a:ext uri="{FF2B5EF4-FFF2-40B4-BE49-F238E27FC236}">
                <a16:creationId xmlns:a16="http://schemas.microsoft.com/office/drawing/2014/main" id="{789E2E04-666B-2544-8B8C-0C77DBA31FB3}"/>
              </a:ext>
            </a:extLst>
          </p:cNvPr>
          <p:cNvSpPr>
            <a:spLocks noGrp="1"/>
          </p:cNvSpPr>
          <p:nvPr userDrawn="1">
            <p:ph type="body" sz="half" idx="2" hasCustomPrompt="1"/>
          </p:nvPr>
        </p:nvSpPr>
        <p:spPr>
          <a:xfrm>
            <a:off x="485776" y="806807"/>
            <a:ext cx="9509124" cy="318476"/>
          </a:xfrm>
        </p:spPr>
        <p:txBody>
          <a:bodyPr/>
          <a:lstStyle>
            <a:lvl1pPr marL="0" indent="0">
              <a:buNone/>
              <a:defRPr sz="2000" b="1">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18" name="Freeform 10"/>
          <p:cNvSpPr>
            <a:spLocks noEditPoints="1"/>
          </p:cNvSpPr>
          <p:nvPr userDrawn="1"/>
        </p:nvSpPr>
        <p:spPr bwMode="auto">
          <a:xfrm>
            <a:off x="11448746" y="1582895"/>
            <a:ext cx="292709" cy="268942"/>
          </a:xfrm>
          <a:custGeom>
            <a:avLst/>
            <a:gdLst>
              <a:gd name="T0" fmla="*/ 76 w 88"/>
              <a:gd name="T1" fmla="*/ 80 h 80"/>
              <a:gd name="T2" fmla="*/ 73 w 88"/>
              <a:gd name="T3" fmla="*/ 79 h 80"/>
              <a:gd name="T4" fmla="*/ 61 w 88"/>
              <a:gd name="T5" fmla="*/ 67 h 80"/>
              <a:gd name="T6" fmla="*/ 61 w 88"/>
              <a:gd name="T7" fmla="*/ 61 h 80"/>
              <a:gd name="T8" fmla="*/ 67 w 88"/>
              <a:gd name="T9" fmla="*/ 61 h 80"/>
              <a:gd name="T10" fmla="*/ 79 w 88"/>
              <a:gd name="T11" fmla="*/ 73 h 80"/>
              <a:gd name="T12" fmla="*/ 79 w 88"/>
              <a:gd name="T13" fmla="*/ 79 h 80"/>
              <a:gd name="T14" fmla="*/ 76 w 88"/>
              <a:gd name="T15" fmla="*/ 80 h 80"/>
              <a:gd name="T16" fmla="*/ 12 w 88"/>
              <a:gd name="T17" fmla="*/ 80 h 80"/>
              <a:gd name="T18" fmla="*/ 9 w 88"/>
              <a:gd name="T19" fmla="*/ 79 h 80"/>
              <a:gd name="T20" fmla="*/ 9 w 88"/>
              <a:gd name="T21" fmla="*/ 73 h 80"/>
              <a:gd name="T22" fmla="*/ 38 w 88"/>
              <a:gd name="T23" fmla="*/ 44 h 80"/>
              <a:gd name="T24" fmla="*/ 32 w 88"/>
              <a:gd name="T25" fmla="*/ 38 h 80"/>
              <a:gd name="T26" fmla="*/ 27 w 88"/>
              <a:gd name="T27" fmla="*/ 43 h 80"/>
              <a:gd name="T28" fmla="*/ 21 w 88"/>
              <a:gd name="T29" fmla="*/ 43 h 80"/>
              <a:gd name="T30" fmla="*/ 1 w 88"/>
              <a:gd name="T31" fmla="*/ 23 h 80"/>
              <a:gd name="T32" fmla="*/ 1 w 88"/>
              <a:gd name="T33" fmla="*/ 17 h 80"/>
              <a:gd name="T34" fmla="*/ 7 w 88"/>
              <a:gd name="T35" fmla="*/ 17 h 80"/>
              <a:gd name="T36" fmla="*/ 24 w 88"/>
              <a:gd name="T37" fmla="*/ 34 h 80"/>
              <a:gd name="T38" fmla="*/ 26 w 88"/>
              <a:gd name="T39" fmla="*/ 32 h 80"/>
              <a:gd name="T40" fmla="*/ 9 w 88"/>
              <a:gd name="T41" fmla="*/ 15 h 80"/>
              <a:gd name="T42" fmla="*/ 9 w 88"/>
              <a:gd name="T43" fmla="*/ 9 h 80"/>
              <a:gd name="T44" fmla="*/ 15 w 88"/>
              <a:gd name="T45" fmla="*/ 9 h 80"/>
              <a:gd name="T46" fmla="*/ 32 w 88"/>
              <a:gd name="T47" fmla="*/ 26 h 80"/>
              <a:gd name="T48" fmla="*/ 34 w 88"/>
              <a:gd name="T49" fmla="*/ 24 h 80"/>
              <a:gd name="T50" fmla="*/ 17 w 88"/>
              <a:gd name="T51" fmla="*/ 7 h 80"/>
              <a:gd name="T52" fmla="*/ 17 w 88"/>
              <a:gd name="T53" fmla="*/ 1 h 80"/>
              <a:gd name="T54" fmla="*/ 23 w 88"/>
              <a:gd name="T55" fmla="*/ 1 h 80"/>
              <a:gd name="T56" fmla="*/ 43 w 88"/>
              <a:gd name="T57" fmla="*/ 21 h 80"/>
              <a:gd name="T58" fmla="*/ 43 w 88"/>
              <a:gd name="T59" fmla="*/ 27 h 80"/>
              <a:gd name="T60" fmla="*/ 38 w 88"/>
              <a:gd name="T61" fmla="*/ 32 h 80"/>
              <a:gd name="T62" fmla="*/ 44 w 88"/>
              <a:gd name="T63" fmla="*/ 38 h 80"/>
              <a:gd name="T64" fmla="*/ 77 w 88"/>
              <a:gd name="T65" fmla="*/ 5 h 80"/>
              <a:gd name="T66" fmla="*/ 81 w 88"/>
              <a:gd name="T67" fmla="*/ 4 h 80"/>
              <a:gd name="T68" fmla="*/ 84 w 88"/>
              <a:gd name="T69" fmla="*/ 7 h 80"/>
              <a:gd name="T70" fmla="*/ 75 w 88"/>
              <a:gd name="T71" fmla="*/ 43 h 80"/>
              <a:gd name="T72" fmla="*/ 49 w 88"/>
              <a:gd name="T73" fmla="*/ 60 h 80"/>
              <a:gd name="T74" fmla="*/ 44 w 88"/>
              <a:gd name="T75" fmla="*/ 57 h 80"/>
              <a:gd name="T76" fmla="*/ 47 w 88"/>
              <a:gd name="T77" fmla="*/ 52 h 80"/>
              <a:gd name="T78" fmla="*/ 69 w 88"/>
              <a:gd name="T79" fmla="*/ 37 h 80"/>
              <a:gd name="T80" fmla="*/ 77 w 88"/>
              <a:gd name="T81" fmla="*/ 16 h 80"/>
              <a:gd name="T82" fmla="*/ 15 w 88"/>
              <a:gd name="T83" fmla="*/ 79 h 80"/>
              <a:gd name="T84" fmla="*/ 12 w 88"/>
              <a:gd name="T8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80">
                <a:moveTo>
                  <a:pt x="76" y="80"/>
                </a:moveTo>
                <a:cubicBezTo>
                  <a:pt x="75" y="80"/>
                  <a:pt x="74" y="80"/>
                  <a:pt x="73" y="79"/>
                </a:cubicBezTo>
                <a:cubicBezTo>
                  <a:pt x="61" y="67"/>
                  <a:pt x="61" y="67"/>
                  <a:pt x="61" y="67"/>
                </a:cubicBezTo>
                <a:cubicBezTo>
                  <a:pt x="60" y="65"/>
                  <a:pt x="60" y="63"/>
                  <a:pt x="61" y="61"/>
                </a:cubicBezTo>
                <a:cubicBezTo>
                  <a:pt x="63" y="60"/>
                  <a:pt x="65" y="60"/>
                  <a:pt x="67" y="61"/>
                </a:cubicBezTo>
                <a:cubicBezTo>
                  <a:pt x="79" y="73"/>
                  <a:pt x="79" y="73"/>
                  <a:pt x="79" y="73"/>
                </a:cubicBezTo>
                <a:cubicBezTo>
                  <a:pt x="80" y="75"/>
                  <a:pt x="80" y="77"/>
                  <a:pt x="79" y="79"/>
                </a:cubicBezTo>
                <a:cubicBezTo>
                  <a:pt x="78" y="80"/>
                  <a:pt x="77" y="80"/>
                  <a:pt x="76" y="80"/>
                </a:cubicBezTo>
                <a:close/>
                <a:moveTo>
                  <a:pt x="12" y="80"/>
                </a:moveTo>
                <a:cubicBezTo>
                  <a:pt x="11" y="80"/>
                  <a:pt x="10" y="80"/>
                  <a:pt x="9" y="79"/>
                </a:cubicBezTo>
                <a:cubicBezTo>
                  <a:pt x="8" y="77"/>
                  <a:pt x="8" y="75"/>
                  <a:pt x="9" y="73"/>
                </a:cubicBezTo>
                <a:cubicBezTo>
                  <a:pt x="38" y="44"/>
                  <a:pt x="38" y="44"/>
                  <a:pt x="38" y="44"/>
                </a:cubicBezTo>
                <a:cubicBezTo>
                  <a:pt x="32" y="38"/>
                  <a:pt x="32" y="38"/>
                  <a:pt x="32" y="38"/>
                </a:cubicBezTo>
                <a:cubicBezTo>
                  <a:pt x="27" y="43"/>
                  <a:pt x="27" y="43"/>
                  <a:pt x="27" y="43"/>
                </a:cubicBezTo>
                <a:cubicBezTo>
                  <a:pt x="25" y="44"/>
                  <a:pt x="23" y="44"/>
                  <a:pt x="21" y="43"/>
                </a:cubicBezTo>
                <a:cubicBezTo>
                  <a:pt x="1" y="23"/>
                  <a:pt x="1" y="23"/>
                  <a:pt x="1" y="23"/>
                </a:cubicBezTo>
                <a:cubicBezTo>
                  <a:pt x="0" y="21"/>
                  <a:pt x="0" y="19"/>
                  <a:pt x="1" y="17"/>
                </a:cubicBezTo>
                <a:cubicBezTo>
                  <a:pt x="3" y="16"/>
                  <a:pt x="5" y="16"/>
                  <a:pt x="7" y="17"/>
                </a:cubicBezTo>
                <a:cubicBezTo>
                  <a:pt x="24" y="34"/>
                  <a:pt x="24" y="34"/>
                  <a:pt x="24" y="34"/>
                </a:cubicBezTo>
                <a:cubicBezTo>
                  <a:pt x="26" y="32"/>
                  <a:pt x="26" y="32"/>
                  <a:pt x="26" y="32"/>
                </a:cubicBezTo>
                <a:cubicBezTo>
                  <a:pt x="9" y="15"/>
                  <a:pt x="9" y="15"/>
                  <a:pt x="9" y="15"/>
                </a:cubicBezTo>
                <a:cubicBezTo>
                  <a:pt x="8" y="13"/>
                  <a:pt x="8" y="11"/>
                  <a:pt x="9" y="9"/>
                </a:cubicBezTo>
                <a:cubicBezTo>
                  <a:pt x="11" y="8"/>
                  <a:pt x="13" y="8"/>
                  <a:pt x="15" y="9"/>
                </a:cubicBezTo>
                <a:cubicBezTo>
                  <a:pt x="32" y="26"/>
                  <a:pt x="32" y="26"/>
                  <a:pt x="32" y="26"/>
                </a:cubicBezTo>
                <a:cubicBezTo>
                  <a:pt x="34" y="24"/>
                  <a:pt x="34" y="24"/>
                  <a:pt x="34" y="24"/>
                </a:cubicBezTo>
                <a:cubicBezTo>
                  <a:pt x="17" y="7"/>
                  <a:pt x="17" y="7"/>
                  <a:pt x="17" y="7"/>
                </a:cubicBezTo>
                <a:cubicBezTo>
                  <a:pt x="16" y="5"/>
                  <a:pt x="16" y="3"/>
                  <a:pt x="17" y="1"/>
                </a:cubicBezTo>
                <a:cubicBezTo>
                  <a:pt x="19" y="0"/>
                  <a:pt x="21" y="0"/>
                  <a:pt x="23" y="1"/>
                </a:cubicBezTo>
                <a:cubicBezTo>
                  <a:pt x="43" y="21"/>
                  <a:pt x="43" y="21"/>
                  <a:pt x="43" y="21"/>
                </a:cubicBezTo>
                <a:cubicBezTo>
                  <a:pt x="44" y="23"/>
                  <a:pt x="44" y="25"/>
                  <a:pt x="43" y="27"/>
                </a:cubicBezTo>
                <a:cubicBezTo>
                  <a:pt x="38" y="32"/>
                  <a:pt x="38" y="32"/>
                  <a:pt x="38" y="32"/>
                </a:cubicBezTo>
                <a:cubicBezTo>
                  <a:pt x="44" y="38"/>
                  <a:pt x="44" y="38"/>
                  <a:pt x="44" y="38"/>
                </a:cubicBezTo>
                <a:cubicBezTo>
                  <a:pt x="77" y="5"/>
                  <a:pt x="77" y="5"/>
                  <a:pt x="77" y="5"/>
                </a:cubicBezTo>
                <a:cubicBezTo>
                  <a:pt x="78" y="4"/>
                  <a:pt x="80" y="4"/>
                  <a:pt x="81" y="4"/>
                </a:cubicBezTo>
                <a:cubicBezTo>
                  <a:pt x="82" y="4"/>
                  <a:pt x="83" y="6"/>
                  <a:pt x="84" y="7"/>
                </a:cubicBezTo>
                <a:cubicBezTo>
                  <a:pt x="88" y="20"/>
                  <a:pt x="84" y="34"/>
                  <a:pt x="75" y="43"/>
                </a:cubicBezTo>
                <a:cubicBezTo>
                  <a:pt x="60" y="58"/>
                  <a:pt x="49" y="60"/>
                  <a:pt x="49" y="60"/>
                </a:cubicBezTo>
                <a:cubicBezTo>
                  <a:pt x="47" y="60"/>
                  <a:pt x="45" y="59"/>
                  <a:pt x="44" y="57"/>
                </a:cubicBezTo>
                <a:cubicBezTo>
                  <a:pt x="44" y="55"/>
                  <a:pt x="45" y="53"/>
                  <a:pt x="47" y="52"/>
                </a:cubicBezTo>
                <a:cubicBezTo>
                  <a:pt x="47" y="52"/>
                  <a:pt x="56" y="50"/>
                  <a:pt x="69" y="37"/>
                </a:cubicBezTo>
                <a:cubicBezTo>
                  <a:pt x="75" y="32"/>
                  <a:pt x="78" y="24"/>
                  <a:pt x="77" y="16"/>
                </a:cubicBezTo>
                <a:cubicBezTo>
                  <a:pt x="15" y="79"/>
                  <a:pt x="15" y="79"/>
                  <a:pt x="15" y="79"/>
                </a:cubicBezTo>
                <a:cubicBezTo>
                  <a:pt x="14" y="80"/>
                  <a:pt x="13" y="80"/>
                  <a:pt x="12" y="8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Freeform 23"/>
          <p:cNvSpPr>
            <a:spLocks noEditPoints="1"/>
          </p:cNvSpPr>
          <p:nvPr userDrawn="1"/>
        </p:nvSpPr>
        <p:spPr bwMode="auto">
          <a:xfrm>
            <a:off x="11461255" y="4983465"/>
            <a:ext cx="267691" cy="317727"/>
          </a:xfrm>
          <a:custGeom>
            <a:avLst/>
            <a:gdLst>
              <a:gd name="T0" fmla="*/ 76 w 80"/>
              <a:gd name="T1" fmla="*/ 96 h 96"/>
              <a:gd name="T2" fmla="*/ 40 w 80"/>
              <a:gd name="T3" fmla="*/ 96 h 96"/>
              <a:gd name="T4" fmla="*/ 36 w 80"/>
              <a:gd name="T5" fmla="*/ 92 h 96"/>
              <a:gd name="T6" fmla="*/ 36 w 80"/>
              <a:gd name="T7" fmla="*/ 76 h 96"/>
              <a:gd name="T8" fmla="*/ 40 w 80"/>
              <a:gd name="T9" fmla="*/ 72 h 96"/>
              <a:gd name="T10" fmla="*/ 76 w 80"/>
              <a:gd name="T11" fmla="*/ 72 h 96"/>
              <a:gd name="T12" fmla="*/ 80 w 80"/>
              <a:gd name="T13" fmla="*/ 76 h 96"/>
              <a:gd name="T14" fmla="*/ 80 w 80"/>
              <a:gd name="T15" fmla="*/ 92 h 96"/>
              <a:gd name="T16" fmla="*/ 76 w 80"/>
              <a:gd name="T17" fmla="*/ 96 h 96"/>
              <a:gd name="T18" fmla="*/ 44 w 80"/>
              <a:gd name="T19" fmla="*/ 88 h 96"/>
              <a:gd name="T20" fmla="*/ 72 w 80"/>
              <a:gd name="T21" fmla="*/ 88 h 96"/>
              <a:gd name="T22" fmla="*/ 72 w 80"/>
              <a:gd name="T23" fmla="*/ 80 h 96"/>
              <a:gd name="T24" fmla="*/ 44 w 80"/>
              <a:gd name="T25" fmla="*/ 80 h 96"/>
              <a:gd name="T26" fmla="*/ 44 w 80"/>
              <a:gd name="T27" fmla="*/ 88 h 96"/>
              <a:gd name="T28" fmla="*/ 76 w 80"/>
              <a:gd name="T29" fmla="*/ 64 h 96"/>
              <a:gd name="T30" fmla="*/ 4 w 80"/>
              <a:gd name="T31" fmla="*/ 64 h 96"/>
              <a:gd name="T32" fmla="*/ 0 w 80"/>
              <a:gd name="T33" fmla="*/ 60 h 96"/>
              <a:gd name="T34" fmla="*/ 0 w 80"/>
              <a:gd name="T35" fmla="*/ 4 h 96"/>
              <a:gd name="T36" fmla="*/ 4 w 80"/>
              <a:gd name="T37" fmla="*/ 0 h 96"/>
              <a:gd name="T38" fmla="*/ 76 w 80"/>
              <a:gd name="T39" fmla="*/ 0 h 96"/>
              <a:gd name="T40" fmla="*/ 80 w 80"/>
              <a:gd name="T41" fmla="*/ 4 h 96"/>
              <a:gd name="T42" fmla="*/ 80 w 80"/>
              <a:gd name="T43" fmla="*/ 60 h 96"/>
              <a:gd name="T44" fmla="*/ 76 w 80"/>
              <a:gd name="T45" fmla="*/ 64 h 96"/>
              <a:gd name="T46" fmla="*/ 8 w 80"/>
              <a:gd name="T47" fmla="*/ 56 h 96"/>
              <a:gd name="T48" fmla="*/ 72 w 80"/>
              <a:gd name="T49" fmla="*/ 56 h 96"/>
              <a:gd name="T50" fmla="*/ 72 w 80"/>
              <a:gd name="T51" fmla="*/ 24 h 96"/>
              <a:gd name="T52" fmla="*/ 8 w 80"/>
              <a:gd name="T53" fmla="*/ 24 h 96"/>
              <a:gd name="T54" fmla="*/ 8 w 80"/>
              <a:gd name="T55" fmla="*/ 56 h 96"/>
              <a:gd name="T56" fmla="*/ 8 w 80"/>
              <a:gd name="T57" fmla="*/ 16 h 96"/>
              <a:gd name="T58" fmla="*/ 72 w 80"/>
              <a:gd name="T59" fmla="*/ 16 h 96"/>
              <a:gd name="T60" fmla="*/ 72 w 80"/>
              <a:gd name="T61" fmla="*/ 8 h 96"/>
              <a:gd name="T62" fmla="*/ 8 w 80"/>
              <a:gd name="T63" fmla="*/ 8 h 96"/>
              <a:gd name="T64" fmla="*/ 8 w 80"/>
              <a:gd name="T65"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96">
                <a:moveTo>
                  <a:pt x="76" y="96"/>
                </a:moveTo>
                <a:cubicBezTo>
                  <a:pt x="40" y="96"/>
                  <a:pt x="40" y="96"/>
                  <a:pt x="40" y="96"/>
                </a:cubicBezTo>
                <a:cubicBezTo>
                  <a:pt x="38" y="96"/>
                  <a:pt x="36" y="94"/>
                  <a:pt x="36" y="92"/>
                </a:cubicBezTo>
                <a:cubicBezTo>
                  <a:pt x="36" y="76"/>
                  <a:pt x="36" y="76"/>
                  <a:pt x="36" y="76"/>
                </a:cubicBezTo>
                <a:cubicBezTo>
                  <a:pt x="36" y="74"/>
                  <a:pt x="38" y="72"/>
                  <a:pt x="40" y="72"/>
                </a:cubicBezTo>
                <a:cubicBezTo>
                  <a:pt x="76" y="72"/>
                  <a:pt x="76" y="72"/>
                  <a:pt x="76" y="72"/>
                </a:cubicBezTo>
                <a:cubicBezTo>
                  <a:pt x="78" y="72"/>
                  <a:pt x="80" y="74"/>
                  <a:pt x="80" y="76"/>
                </a:cubicBezTo>
                <a:cubicBezTo>
                  <a:pt x="80" y="92"/>
                  <a:pt x="80" y="92"/>
                  <a:pt x="80" y="92"/>
                </a:cubicBezTo>
                <a:cubicBezTo>
                  <a:pt x="80" y="94"/>
                  <a:pt x="78" y="96"/>
                  <a:pt x="76" y="96"/>
                </a:cubicBezTo>
                <a:close/>
                <a:moveTo>
                  <a:pt x="44" y="88"/>
                </a:moveTo>
                <a:cubicBezTo>
                  <a:pt x="72" y="88"/>
                  <a:pt x="72" y="88"/>
                  <a:pt x="72" y="88"/>
                </a:cubicBezTo>
                <a:cubicBezTo>
                  <a:pt x="72" y="80"/>
                  <a:pt x="72" y="80"/>
                  <a:pt x="72" y="80"/>
                </a:cubicBezTo>
                <a:cubicBezTo>
                  <a:pt x="44" y="80"/>
                  <a:pt x="44" y="80"/>
                  <a:pt x="44" y="80"/>
                </a:cubicBezTo>
                <a:lnTo>
                  <a:pt x="44" y="88"/>
                </a:lnTo>
                <a:close/>
                <a:moveTo>
                  <a:pt x="76" y="64"/>
                </a:moveTo>
                <a:cubicBezTo>
                  <a:pt x="4" y="64"/>
                  <a:pt x="4" y="64"/>
                  <a:pt x="4" y="64"/>
                </a:cubicBezTo>
                <a:cubicBezTo>
                  <a:pt x="2" y="64"/>
                  <a:pt x="0" y="62"/>
                  <a:pt x="0" y="60"/>
                </a:cubicBezTo>
                <a:cubicBezTo>
                  <a:pt x="0" y="4"/>
                  <a:pt x="0" y="4"/>
                  <a:pt x="0" y="4"/>
                </a:cubicBezTo>
                <a:cubicBezTo>
                  <a:pt x="0" y="2"/>
                  <a:pt x="2" y="0"/>
                  <a:pt x="4" y="0"/>
                </a:cubicBezTo>
                <a:cubicBezTo>
                  <a:pt x="76" y="0"/>
                  <a:pt x="76" y="0"/>
                  <a:pt x="76" y="0"/>
                </a:cubicBezTo>
                <a:cubicBezTo>
                  <a:pt x="78" y="0"/>
                  <a:pt x="80" y="2"/>
                  <a:pt x="80" y="4"/>
                </a:cubicBezTo>
                <a:cubicBezTo>
                  <a:pt x="80" y="60"/>
                  <a:pt x="80" y="60"/>
                  <a:pt x="80" y="60"/>
                </a:cubicBezTo>
                <a:cubicBezTo>
                  <a:pt x="80" y="62"/>
                  <a:pt x="78" y="64"/>
                  <a:pt x="76" y="64"/>
                </a:cubicBezTo>
                <a:close/>
                <a:moveTo>
                  <a:pt x="8" y="56"/>
                </a:moveTo>
                <a:cubicBezTo>
                  <a:pt x="72" y="56"/>
                  <a:pt x="72" y="56"/>
                  <a:pt x="72" y="56"/>
                </a:cubicBezTo>
                <a:cubicBezTo>
                  <a:pt x="72" y="24"/>
                  <a:pt x="72" y="24"/>
                  <a:pt x="72" y="24"/>
                </a:cubicBezTo>
                <a:cubicBezTo>
                  <a:pt x="8" y="24"/>
                  <a:pt x="8" y="24"/>
                  <a:pt x="8" y="24"/>
                </a:cubicBezTo>
                <a:lnTo>
                  <a:pt x="8" y="56"/>
                </a:lnTo>
                <a:close/>
                <a:moveTo>
                  <a:pt x="8" y="16"/>
                </a:moveTo>
                <a:cubicBezTo>
                  <a:pt x="72" y="16"/>
                  <a:pt x="72" y="16"/>
                  <a:pt x="72" y="16"/>
                </a:cubicBezTo>
                <a:cubicBezTo>
                  <a:pt x="72" y="8"/>
                  <a:pt x="72" y="8"/>
                  <a:pt x="72" y="8"/>
                </a:cubicBezTo>
                <a:cubicBezTo>
                  <a:pt x="8" y="8"/>
                  <a:pt x="8" y="8"/>
                  <a:pt x="8" y="8"/>
                </a:cubicBezTo>
                <a:lnTo>
                  <a:pt x="8"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0" name="Group 13"/>
          <p:cNvGrpSpPr>
            <a:grpSpLocks noChangeAspect="1"/>
          </p:cNvGrpSpPr>
          <p:nvPr userDrawn="1"/>
        </p:nvGrpSpPr>
        <p:grpSpPr bwMode="auto">
          <a:xfrm>
            <a:off x="11460629" y="2698368"/>
            <a:ext cx="268942" cy="323982"/>
            <a:chOff x="292" y="2131"/>
            <a:chExt cx="215" cy="259"/>
          </a:xfrm>
          <a:solidFill>
            <a:schemeClr val="bg1"/>
          </a:solidFill>
        </p:grpSpPr>
        <p:sp>
          <p:nvSpPr>
            <p:cNvPr id="21" name="Freeform 14"/>
            <p:cNvSpPr>
              <a:spLocks noEditPoints="1"/>
            </p:cNvSpPr>
            <p:nvPr/>
          </p:nvSpPr>
          <p:spPr bwMode="auto">
            <a:xfrm>
              <a:off x="292" y="2131"/>
              <a:ext cx="215" cy="222"/>
            </a:xfrm>
            <a:custGeom>
              <a:avLst/>
              <a:gdLst>
                <a:gd name="T0" fmla="*/ 76 w 80"/>
                <a:gd name="T1" fmla="*/ 84 h 84"/>
                <a:gd name="T2" fmla="*/ 4 w 80"/>
                <a:gd name="T3" fmla="*/ 84 h 84"/>
                <a:gd name="T4" fmla="*/ 1 w 80"/>
                <a:gd name="T5" fmla="*/ 82 h 84"/>
                <a:gd name="T6" fmla="*/ 1 w 80"/>
                <a:gd name="T7" fmla="*/ 78 h 84"/>
                <a:gd name="T8" fmla="*/ 8 w 80"/>
                <a:gd name="T9" fmla="*/ 52 h 84"/>
                <a:gd name="T10" fmla="*/ 8 w 80"/>
                <a:gd name="T11" fmla="*/ 32 h 84"/>
                <a:gd name="T12" fmla="*/ 40 w 80"/>
                <a:gd name="T13" fmla="*/ 0 h 84"/>
                <a:gd name="T14" fmla="*/ 72 w 80"/>
                <a:gd name="T15" fmla="*/ 32 h 84"/>
                <a:gd name="T16" fmla="*/ 72 w 80"/>
                <a:gd name="T17" fmla="*/ 52 h 84"/>
                <a:gd name="T18" fmla="*/ 79 w 80"/>
                <a:gd name="T19" fmla="*/ 78 h 84"/>
                <a:gd name="T20" fmla="*/ 79 w 80"/>
                <a:gd name="T21" fmla="*/ 82 h 84"/>
                <a:gd name="T22" fmla="*/ 76 w 80"/>
                <a:gd name="T23" fmla="*/ 84 h 84"/>
                <a:gd name="T24" fmla="*/ 11 w 80"/>
                <a:gd name="T25" fmla="*/ 76 h 84"/>
                <a:gd name="T26" fmla="*/ 69 w 80"/>
                <a:gd name="T27" fmla="*/ 76 h 84"/>
                <a:gd name="T28" fmla="*/ 64 w 80"/>
                <a:gd name="T29" fmla="*/ 52 h 84"/>
                <a:gd name="T30" fmla="*/ 64 w 80"/>
                <a:gd name="T31" fmla="*/ 32 h 84"/>
                <a:gd name="T32" fmla="*/ 40 w 80"/>
                <a:gd name="T33" fmla="*/ 8 h 84"/>
                <a:gd name="T34" fmla="*/ 16 w 80"/>
                <a:gd name="T35" fmla="*/ 32 h 84"/>
                <a:gd name="T36" fmla="*/ 16 w 80"/>
                <a:gd name="T37" fmla="*/ 52 h 84"/>
                <a:gd name="T38" fmla="*/ 11 w 80"/>
                <a:gd name="T39"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84">
                  <a:moveTo>
                    <a:pt x="76" y="84"/>
                  </a:moveTo>
                  <a:cubicBezTo>
                    <a:pt x="4" y="84"/>
                    <a:pt x="4" y="84"/>
                    <a:pt x="4" y="84"/>
                  </a:cubicBezTo>
                  <a:cubicBezTo>
                    <a:pt x="3" y="84"/>
                    <a:pt x="1" y="83"/>
                    <a:pt x="1" y="82"/>
                  </a:cubicBezTo>
                  <a:cubicBezTo>
                    <a:pt x="0" y="81"/>
                    <a:pt x="0" y="79"/>
                    <a:pt x="1" y="78"/>
                  </a:cubicBezTo>
                  <a:cubicBezTo>
                    <a:pt x="5" y="70"/>
                    <a:pt x="8" y="61"/>
                    <a:pt x="8" y="52"/>
                  </a:cubicBezTo>
                  <a:cubicBezTo>
                    <a:pt x="8" y="32"/>
                    <a:pt x="8" y="32"/>
                    <a:pt x="8" y="32"/>
                  </a:cubicBezTo>
                  <a:cubicBezTo>
                    <a:pt x="8" y="14"/>
                    <a:pt x="22" y="0"/>
                    <a:pt x="40" y="0"/>
                  </a:cubicBezTo>
                  <a:cubicBezTo>
                    <a:pt x="58" y="0"/>
                    <a:pt x="72" y="14"/>
                    <a:pt x="72" y="32"/>
                  </a:cubicBezTo>
                  <a:cubicBezTo>
                    <a:pt x="72" y="52"/>
                    <a:pt x="72" y="52"/>
                    <a:pt x="72" y="52"/>
                  </a:cubicBezTo>
                  <a:cubicBezTo>
                    <a:pt x="72" y="61"/>
                    <a:pt x="75" y="70"/>
                    <a:pt x="79" y="78"/>
                  </a:cubicBezTo>
                  <a:cubicBezTo>
                    <a:pt x="80" y="79"/>
                    <a:pt x="80" y="81"/>
                    <a:pt x="79" y="82"/>
                  </a:cubicBezTo>
                  <a:cubicBezTo>
                    <a:pt x="79" y="83"/>
                    <a:pt x="77" y="84"/>
                    <a:pt x="76" y="84"/>
                  </a:cubicBezTo>
                  <a:close/>
                  <a:moveTo>
                    <a:pt x="11" y="76"/>
                  </a:moveTo>
                  <a:cubicBezTo>
                    <a:pt x="69" y="76"/>
                    <a:pt x="69" y="76"/>
                    <a:pt x="69" y="76"/>
                  </a:cubicBezTo>
                  <a:cubicBezTo>
                    <a:pt x="66" y="68"/>
                    <a:pt x="64" y="60"/>
                    <a:pt x="64" y="52"/>
                  </a:cubicBezTo>
                  <a:cubicBezTo>
                    <a:pt x="64" y="32"/>
                    <a:pt x="64" y="32"/>
                    <a:pt x="64" y="32"/>
                  </a:cubicBezTo>
                  <a:cubicBezTo>
                    <a:pt x="64" y="19"/>
                    <a:pt x="53" y="8"/>
                    <a:pt x="40" y="8"/>
                  </a:cubicBezTo>
                  <a:cubicBezTo>
                    <a:pt x="27" y="8"/>
                    <a:pt x="16" y="19"/>
                    <a:pt x="16" y="32"/>
                  </a:cubicBezTo>
                  <a:cubicBezTo>
                    <a:pt x="16" y="52"/>
                    <a:pt x="16" y="52"/>
                    <a:pt x="16" y="52"/>
                  </a:cubicBezTo>
                  <a:cubicBezTo>
                    <a:pt x="16" y="60"/>
                    <a:pt x="14" y="68"/>
                    <a:pt x="11"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5"/>
            <p:cNvSpPr>
              <a:spLocks/>
            </p:cNvSpPr>
            <p:nvPr/>
          </p:nvSpPr>
          <p:spPr bwMode="auto">
            <a:xfrm>
              <a:off x="370" y="2364"/>
              <a:ext cx="59" cy="26"/>
            </a:xfrm>
            <a:custGeom>
              <a:avLst/>
              <a:gdLst>
                <a:gd name="T0" fmla="*/ 0 w 22"/>
                <a:gd name="T1" fmla="*/ 0 h 10"/>
                <a:gd name="T2" fmla="*/ 15 w 22"/>
                <a:gd name="T3" fmla="*/ 7 h 10"/>
                <a:gd name="T4" fmla="*/ 22 w 22"/>
                <a:gd name="T5" fmla="*/ 0 h 10"/>
                <a:gd name="T6" fmla="*/ 0 w 22"/>
                <a:gd name="T7" fmla="*/ 0 h 10"/>
              </a:gdLst>
              <a:ahLst/>
              <a:cxnLst>
                <a:cxn ang="0">
                  <a:pos x="T0" y="T1"/>
                </a:cxn>
                <a:cxn ang="0">
                  <a:pos x="T2" y="T3"/>
                </a:cxn>
                <a:cxn ang="0">
                  <a:pos x="T4" y="T5"/>
                </a:cxn>
                <a:cxn ang="0">
                  <a:pos x="T6" y="T7"/>
                </a:cxn>
              </a:cxnLst>
              <a:rect l="0" t="0" r="r" b="b"/>
              <a:pathLst>
                <a:path w="22" h="10">
                  <a:moveTo>
                    <a:pt x="0" y="0"/>
                  </a:moveTo>
                  <a:cubicBezTo>
                    <a:pt x="2" y="6"/>
                    <a:pt x="9" y="10"/>
                    <a:pt x="15" y="7"/>
                  </a:cubicBezTo>
                  <a:cubicBezTo>
                    <a:pt x="18" y="6"/>
                    <a:pt x="21" y="3"/>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 name="Group 26"/>
          <p:cNvGrpSpPr>
            <a:grpSpLocks noChangeAspect="1"/>
          </p:cNvGrpSpPr>
          <p:nvPr userDrawn="1"/>
        </p:nvGrpSpPr>
        <p:grpSpPr bwMode="auto">
          <a:xfrm>
            <a:off x="11461254" y="6127640"/>
            <a:ext cx="267692" cy="317727"/>
            <a:chOff x="3091" y="1784"/>
            <a:chExt cx="214" cy="254"/>
          </a:xfrm>
          <a:solidFill>
            <a:schemeClr val="bg1"/>
          </a:solidFill>
        </p:grpSpPr>
        <p:sp>
          <p:nvSpPr>
            <p:cNvPr id="24" name="Freeform 27"/>
            <p:cNvSpPr>
              <a:spLocks noEditPoints="1"/>
            </p:cNvSpPr>
            <p:nvPr/>
          </p:nvSpPr>
          <p:spPr bwMode="auto">
            <a:xfrm>
              <a:off x="3091" y="1784"/>
              <a:ext cx="214" cy="254"/>
            </a:xfrm>
            <a:custGeom>
              <a:avLst/>
              <a:gdLst>
                <a:gd name="T0" fmla="*/ 76 w 80"/>
                <a:gd name="T1" fmla="*/ 96 h 96"/>
                <a:gd name="T2" fmla="*/ 4 w 80"/>
                <a:gd name="T3" fmla="*/ 96 h 96"/>
                <a:gd name="T4" fmla="*/ 0 w 80"/>
                <a:gd name="T5" fmla="*/ 92 h 96"/>
                <a:gd name="T6" fmla="*/ 0 w 80"/>
                <a:gd name="T7" fmla="*/ 4 h 96"/>
                <a:gd name="T8" fmla="*/ 4 w 80"/>
                <a:gd name="T9" fmla="*/ 0 h 96"/>
                <a:gd name="T10" fmla="*/ 76 w 80"/>
                <a:gd name="T11" fmla="*/ 0 h 96"/>
                <a:gd name="T12" fmla="*/ 80 w 80"/>
                <a:gd name="T13" fmla="*/ 4 h 96"/>
                <a:gd name="T14" fmla="*/ 80 w 80"/>
                <a:gd name="T15" fmla="*/ 92 h 96"/>
                <a:gd name="T16" fmla="*/ 76 w 80"/>
                <a:gd name="T17" fmla="*/ 96 h 96"/>
                <a:gd name="T18" fmla="*/ 8 w 80"/>
                <a:gd name="T19" fmla="*/ 88 h 96"/>
                <a:gd name="T20" fmla="*/ 72 w 80"/>
                <a:gd name="T21" fmla="*/ 88 h 96"/>
                <a:gd name="T22" fmla="*/ 72 w 80"/>
                <a:gd name="T23" fmla="*/ 8 h 96"/>
                <a:gd name="T24" fmla="*/ 8 w 80"/>
                <a:gd name="T25" fmla="*/ 8 h 96"/>
                <a:gd name="T26" fmla="*/ 8 w 80"/>
                <a:gd name="T27" fmla="*/ 88 h 96"/>
                <a:gd name="T28" fmla="*/ 40 w 80"/>
                <a:gd name="T29" fmla="*/ 80 h 96"/>
                <a:gd name="T30" fmla="*/ 36 w 80"/>
                <a:gd name="T31" fmla="*/ 76 h 96"/>
                <a:gd name="T32" fmla="*/ 36 w 80"/>
                <a:gd name="T33" fmla="*/ 20 h 96"/>
                <a:gd name="T34" fmla="*/ 40 w 80"/>
                <a:gd name="T35" fmla="*/ 16 h 96"/>
                <a:gd name="T36" fmla="*/ 44 w 80"/>
                <a:gd name="T37" fmla="*/ 20 h 96"/>
                <a:gd name="T38" fmla="*/ 44 w 80"/>
                <a:gd name="T39" fmla="*/ 76 h 96"/>
                <a:gd name="T40" fmla="*/ 40 w 80"/>
                <a:gd name="T41"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96">
                  <a:moveTo>
                    <a:pt x="76" y="96"/>
                  </a:moveTo>
                  <a:cubicBezTo>
                    <a:pt x="4" y="96"/>
                    <a:pt x="4" y="96"/>
                    <a:pt x="4" y="96"/>
                  </a:cubicBezTo>
                  <a:cubicBezTo>
                    <a:pt x="2" y="96"/>
                    <a:pt x="0" y="94"/>
                    <a:pt x="0" y="92"/>
                  </a:cubicBezTo>
                  <a:cubicBezTo>
                    <a:pt x="0" y="4"/>
                    <a:pt x="0" y="4"/>
                    <a:pt x="0" y="4"/>
                  </a:cubicBezTo>
                  <a:cubicBezTo>
                    <a:pt x="0" y="2"/>
                    <a:pt x="2" y="0"/>
                    <a:pt x="4" y="0"/>
                  </a:cubicBezTo>
                  <a:cubicBezTo>
                    <a:pt x="76" y="0"/>
                    <a:pt x="76" y="0"/>
                    <a:pt x="76" y="0"/>
                  </a:cubicBezTo>
                  <a:cubicBezTo>
                    <a:pt x="78" y="0"/>
                    <a:pt x="80" y="2"/>
                    <a:pt x="80" y="4"/>
                  </a:cubicBezTo>
                  <a:cubicBezTo>
                    <a:pt x="80" y="92"/>
                    <a:pt x="80" y="92"/>
                    <a:pt x="80" y="92"/>
                  </a:cubicBezTo>
                  <a:cubicBezTo>
                    <a:pt x="80" y="94"/>
                    <a:pt x="78" y="96"/>
                    <a:pt x="76" y="96"/>
                  </a:cubicBezTo>
                  <a:close/>
                  <a:moveTo>
                    <a:pt x="8" y="88"/>
                  </a:moveTo>
                  <a:cubicBezTo>
                    <a:pt x="72" y="88"/>
                    <a:pt x="72" y="88"/>
                    <a:pt x="72" y="88"/>
                  </a:cubicBezTo>
                  <a:cubicBezTo>
                    <a:pt x="72" y="8"/>
                    <a:pt x="72" y="8"/>
                    <a:pt x="72" y="8"/>
                  </a:cubicBezTo>
                  <a:cubicBezTo>
                    <a:pt x="8" y="8"/>
                    <a:pt x="8" y="8"/>
                    <a:pt x="8" y="8"/>
                  </a:cubicBezTo>
                  <a:lnTo>
                    <a:pt x="8" y="88"/>
                  </a:lnTo>
                  <a:close/>
                  <a:moveTo>
                    <a:pt x="40" y="80"/>
                  </a:moveTo>
                  <a:cubicBezTo>
                    <a:pt x="38" y="80"/>
                    <a:pt x="36" y="78"/>
                    <a:pt x="36" y="76"/>
                  </a:cubicBezTo>
                  <a:cubicBezTo>
                    <a:pt x="36" y="20"/>
                    <a:pt x="36" y="20"/>
                    <a:pt x="36" y="20"/>
                  </a:cubicBezTo>
                  <a:cubicBezTo>
                    <a:pt x="36" y="18"/>
                    <a:pt x="38" y="16"/>
                    <a:pt x="40" y="16"/>
                  </a:cubicBezTo>
                  <a:cubicBezTo>
                    <a:pt x="42" y="16"/>
                    <a:pt x="44" y="18"/>
                    <a:pt x="44" y="20"/>
                  </a:cubicBezTo>
                  <a:cubicBezTo>
                    <a:pt x="44" y="76"/>
                    <a:pt x="44" y="76"/>
                    <a:pt x="44" y="76"/>
                  </a:cubicBezTo>
                  <a:cubicBezTo>
                    <a:pt x="44" y="78"/>
                    <a:pt x="42" y="80"/>
                    <a:pt x="40"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8"/>
            <p:cNvSpPr>
              <a:spLocks/>
            </p:cNvSpPr>
            <p:nvPr/>
          </p:nvSpPr>
          <p:spPr bwMode="auto">
            <a:xfrm>
              <a:off x="3145" y="1837"/>
              <a:ext cx="101" cy="138"/>
            </a:xfrm>
            <a:custGeom>
              <a:avLst/>
              <a:gdLst>
                <a:gd name="T0" fmla="*/ 19 w 38"/>
                <a:gd name="T1" fmla="*/ 52 h 52"/>
                <a:gd name="T2" fmla="*/ 3 w 38"/>
                <a:gd name="T3" fmla="*/ 49 h 52"/>
                <a:gd name="T4" fmla="*/ 1 w 38"/>
                <a:gd name="T5" fmla="*/ 43 h 52"/>
                <a:gd name="T6" fmla="*/ 6 w 38"/>
                <a:gd name="T7" fmla="*/ 41 h 52"/>
                <a:gd name="T8" fmla="*/ 27 w 38"/>
                <a:gd name="T9" fmla="*/ 42 h 52"/>
                <a:gd name="T10" fmla="*/ 29 w 38"/>
                <a:gd name="T11" fmla="*/ 37 h 52"/>
                <a:gd name="T12" fmla="*/ 19 w 38"/>
                <a:gd name="T13" fmla="*/ 31 h 52"/>
                <a:gd name="T14" fmla="*/ 3 w 38"/>
                <a:gd name="T15" fmla="*/ 15 h 52"/>
                <a:gd name="T16" fmla="*/ 9 w 38"/>
                <a:gd name="T17" fmla="*/ 4 h 52"/>
                <a:gd name="T18" fmla="*/ 36 w 38"/>
                <a:gd name="T19" fmla="*/ 5 h 52"/>
                <a:gd name="T20" fmla="*/ 37 w 38"/>
                <a:gd name="T21" fmla="*/ 11 h 52"/>
                <a:gd name="T22" fmla="*/ 32 w 38"/>
                <a:gd name="T23" fmla="*/ 12 h 52"/>
                <a:gd name="T24" fmla="*/ 13 w 38"/>
                <a:gd name="T25" fmla="*/ 11 h 52"/>
                <a:gd name="T26" fmla="*/ 11 w 38"/>
                <a:gd name="T27" fmla="*/ 15 h 52"/>
                <a:gd name="T28" fmla="*/ 22 w 38"/>
                <a:gd name="T29" fmla="*/ 23 h 52"/>
                <a:gd name="T30" fmla="*/ 37 w 38"/>
                <a:gd name="T31" fmla="*/ 37 h 52"/>
                <a:gd name="T32" fmla="*/ 31 w 38"/>
                <a:gd name="T33" fmla="*/ 49 h 52"/>
                <a:gd name="T34" fmla="*/ 19 w 38"/>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52">
                  <a:moveTo>
                    <a:pt x="19" y="52"/>
                  </a:moveTo>
                  <a:cubicBezTo>
                    <a:pt x="14" y="52"/>
                    <a:pt x="8" y="50"/>
                    <a:pt x="3" y="49"/>
                  </a:cubicBezTo>
                  <a:cubicBezTo>
                    <a:pt x="1" y="48"/>
                    <a:pt x="0" y="45"/>
                    <a:pt x="1" y="43"/>
                  </a:cubicBezTo>
                  <a:cubicBezTo>
                    <a:pt x="1" y="41"/>
                    <a:pt x="4" y="40"/>
                    <a:pt x="6" y="41"/>
                  </a:cubicBezTo>
                  <a:cubicBezTo>
                    <a:pt x="14" y="44"/>
                    <a:pt x="23" y="45"/>
                    <a:pt x="27" y="42"/>
                  </a:cubicBezTo>
                  <a:cubicBezTo>
                    <a:pt x="28" y="41"/>
                    <a:pt x="29" y="40"/>
                    <a:pt x="29" y="37"/>
                  </a:cubicBezTo>
                  <a:cubicBezTo>
                    <a:pt x="29" y="34"/>
                    <a:pt x="26" y="33"/>
                    <a:pt x="19" y="31"/>
                  </a:cubicBezTo>
                  <a:cubicBezTo>
                    <a:pt x="12" y="28"/>
                    <a:pt x="3" y="25"/>
                    <a:pt x="3" y="15"/>
                  </a:cubicBezTo>
                  <a:cubicBezTo>
                    <a:pt x="3" y="10"/>
                    <a:pt x="5" y="6"/>
                    <a:pt x="9" y="4"/>
                  </a:cubicBezTo>
                  <a:cubicBezTo>
                    <a:pt x="17" y="0"/>
                    <a:pt x="30" y="2"/>
                    <a:pt x="36" y="5"/>
                  </a:cubicBezTo>
                  <a:cubicBezTo>
                    <a:pt x="37" y="6"/>
                    <a:pt x="38" y="9"/>
                    <a:pt x="37" y="11"/>
                  </a:cubicBezTo>
                  <a:cubicBezTo>
                    <a:pt x="36" y="13"/>
                    <a:pt x="34" y="13"/>
                    <a:pt x="32" y="12"/>
                  </a:cubicBezTo>
                  <a:cubicBezTo>
                    <a:pt x="28" y="10"/>
                    <a:pt x="18" y="8"/>
                    <a:pt x="13" y="11"/>
                  </a:cubicBezTo>
                  <a:cubicBezTo>
                    <a:pt x="11" y="12"/>
                    <a:pt x="11" y="13"/>
                    <a:pt x="11" y="15"/>
                  </a:cubicBezTo>
                  <a:cubicBezTo>
                    <a:pt x="11" y="19"/>
                    <a:pt x="14" y="21"/>
                    <a:pt x="22" y="23"/>
                  </a:cubicBezTo>
                  <a:cubicBezTo>
                    <a:pt x="28" y="25"/>
                    <a:pt x="37" y="28"/>
                    <a:pt x="37" y="37"/>
                  </a:cubicBezTo>
                  <a:cubicBezTo>
                    <a:pt x="37" y="43"/>
                    <a:pt x="34" y="47"/>
                    <a:pt x="31" y="49"/>
                  </a:cubicBezTo>
                  <a:cubicBezTo>
                    <a:pt x="28" y="51"/>
                    <a:pt x="24" y="52"/>
                    <a:pt x="19"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4"/>
          <p:cNvGrpSpPr>
            <a:grpSpLocks noChangeAspect="1"/>
          </p:cNvGrpSpPr>
          <p:nvPr userDrawn="1"/>
        </p:nvGrpSpPr>
        <p:grpSpPr bwMode="auto">
          <a:xfrm>
            <a:off x="11434986" y="424646"/>
            <a:ext cx="320229" cy="292709"/>
            <a:chOff x="293" y="695"/>
            <a:chExt cx="256" cy="234"/>
          </a:xfrm>
          <a:solidFill>
            <a:schemeClr val="bg1"/>
          </a:solidFill>
        </p:grpSpPr>
        <p:sp>
          <p:nvSpPr>
            <p:cNvPr id="27" name="Freeform 5"/>
            <p:cNvSpPr>
              <a:spLocks/>
            </p:cNvSpPr>
            <p:nvPr/>
          </p:nvSpPr>
          <p:spPr bwMode="auto">
            <a:xfrm>
              <a:off x="293" y="695"/>
              <a:ext cx="256" cy="234"/>
            </a:xfrm>
            <a:custGeom>
              <a:avLst/>
              <a:gdLst>
                <a:gd name="T0" fmla="*/ 84 w 96"/>
                <a:gd name="T1" fmla="*/ 88 h 88"/>
                <a:gd name="T2" fmla="*/ 64 w 96"/>
                <a:gd name="T3" fmla="*/ 88 h 88"/>
                <a:gd name="T4" fmla="*/ 60 w 96"/>
                <a:gd name="T5" fmla="*/ 84 h 88"/>
                <a:gd name="T6" fmla="*/ 64 w 96"/>
                <a:gd name="T7" fmla="*/ 80 h 88"/>
                <a:gd name="T8" fmla="*/ 84 w 96"/>
                <a:gd name="T9" fmla="*/ 80 h 88"/>
                <a:gd name="T10" fmla="*/ 88 w 96"/>
                <a:gd name="T11" fmla="*/ 76 h 88"/>
                <a:gd name="T12" fmla="*/ 88 w 96"/>
                <a:gd name="T13" fmla="*/ 24 h 88"/>
                <a:gd name="T14" fmla="*/ 48 w 96"/>
                <a:gd name="T15" fmla="*/ 24 h 88"/>
                <a:gd name="T16" fmla="*/ 45 w 96"/>
                <a:gd name="T17" fmla="*/ 22 h 88"/>
                <a:gd name="T18" fmla="*/ 34 w 96"/>
                <a:gd name="T19" fmla="*/ 8 h 88"/>
                <a:gd name="T20" fmla="*/ 8 w 96"/>
                <a:gd name="T21" fmla="*/ 8 h 88"/>
                <a:gd name="T22" fmla="*/ 8 w 96"/>
                <a:gd name="T23" fmla="*/ 76 h 88"/>
                <a:gd name="T24" fmla="*/ 12 w 96"/>
                <a:gd name="T25" fmla="*/ 80 h 88"/>
                <a:gd name="T26" fmla="*/ 16 w 96"/>
                <a:gd name="T27" fmla="*/ 80 h 88"/>
                <a:gd name="T28" fmla="*/ 20 w 96"/>
                <a:gd name="T29" fmla="*/ 84 h 88"/>
                <a:gd name="T30" fmla="*/ 16 w 96"/>
                <a:gd name="T31" fmla="*/ 88 h 88"/>
                <a:gd name="T32" fmla="*/ 12 w 96"/>
                <a:gd name="T33" fmla="*/ 88 h 88"/>
                <a:gd name="T34" fmla="*/ 0 w 96"/>
                <a:gd name="T35" fmla="*/ 76 h 88"/>
                <a:gd name="T36" fmla="*/ 0 w 96"/>
                <a:gd name="T37" fmla="*/ 4 h 88"/>
                <a:gd name="T38" fmla="*/ 4 w 96"/>
                <a:gd name="T39" fmla="*/ 0 h 88"/>
                <a:gd name="T40" fmla="*/ 36 w 96"/>
                <a:gd name="T41" fmla="*/ 0 h 88"/>
                <a:gd name="T42" fmla="*/ 39 w 96"/>
                <a:gd name="T43" fmla="*/ 2 h 88"/>
                <a:gd name="T44" fmla="*/ 50 w 96"/>
                <a:gd name="T45" fmla="*/ 16 h 88"/>
                <a:gd name="T46" fmla="*/ 92 w 96"/>
                <a:gd name="T47" fmla="*/ 16 h 88"/>
                <a:gd name="T48" fmla="*/ 96 w 96"/>
                <a:gd name="T49" fmla="*/ 20 h 88"/>
                <a:gd name="T50" fmla="*/ 96 w 96"/>
                <a:gd name="T51" fmla="*/ 76 h 88"/>
                <a:gd name="T52" fmla="*/ 84 w 96"/>
                <a:gd name="T5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 h="88">
                  <a:moveTo>
                    <a:pt x="84" y="88"/>
                  </a:moveTo>
                  <a:cubicBezTo>
                    <a:pt x="64" y="88"/>
                    <a:pt x="64" y="88"/>
                    <a:pt x="64" y="88"/>
                  </a:cubicBezTo>
                  <a:cubicBezTo>
                    <a:pt x="62" y="88"/>
                    <a:pt x="60" y="86"/>
                    <a:pt x="60" y="84"/>
                  </a:cubicBezTo>
                  <a:cubicBezTo>
                    <a:pt x="60" y="82"/>
                    <a:pt x="62" y="80"/>
                    <a:pt x="64" y="80"/>
                  </a:cubicBezTo>
                  <a:cubicBezTo>
                    <a:pt x="84" y="80"/>
                    <a:pt x="84" y="80"/>
                    <a:pt x="84" y="80"/>
                  </a:cubicBezTo>
                  <a:cubicBezTo>
                    <a:pt x="86" y="80"/>
                    <a:pt x="88" y="78"/>
                    <a:pt x="88" y="76"/>
                  </a:cubicBezTo>
                  <a:cubicBezTo>
                    <a:pt x="88" y="24"/>
                    <a:pt x="88" y="24"/>
                    <a:pt x="88" y="24"/>
                  </a:cubicBezTo>
                  <a:cubicBezTo>
                    <a:pt x="48" y="24"/>
                    <a:pt x="48" y="24"/>
                    <a:pt x="48" y="24"/>
                  </a:cubicBezTo>
                  <a:cubicBezTo>
                    <a:pt x="47" y="24"/>
                    <a:pt x="46" y="23"/>
                    <a:pt x="45" y="22"/>
                  </a:cubicBezTo>
                  <a:cubicBezTo>
                    <a:pt x="34" y="8"/>
                    <a:pt x="34" y="8"/>
                    <a:pt x="34" y="8"/>
                  </a:cubicBezTo>
                  <a:cubicBezTo>
                    <a:pt x="8" y="8"/>
                    <a:pt x="8" y="8"/>
                    <a:pt x="8" y="8"/>
                  </a:cubicBezTo>
                  <a:cubicBezTo>
                    <a:pt x="8" y="76"/>
                    <a:pt x="8" y="76"/>
                    <a:pt x="8" y="76"/>
                  </a:cubicBezTo>
                  <a:cubicBezTo>
                    <a:pt x="8" y="78"/>
                    <a:pt x="10" y="80"/>
                    <a:pt x="12" y="80"/>
                  </a:cubicBezTo>
                  <a:cubicBezTo>
                    <a:pt x="16" y="80"/>
                    <a:pt x="16" y="80"/>
                    <a:pt x="16" y="80"/>
                  </a:cubicBezTo>
                  <a:cubicBezTo>
                    <a:pt x="18" y="80"/>
                    <a:pt x="20" y="82"/>
                    <a:pt x="20" y="84"/>
                  </a:cubicBezTo>
                  <a:cubicBezTo>
                    <a:pt x="20" y="86"/>
                    <a:pt x="18" y="88"/>
                    <a:pt x="16" y="88"/>
                  </a:cubicBezTo>
                  <a:cubicBezTo>
                    <a:pt x="12" y="88"/>
                    <a:pt x="12" y="88"/>
                    <a:pt x="12" y="88"/>
                  </a:cubicBezTo>
                  <a:cubicBezTo>
                    <a:pt x="5" y="88"/>
                    <a:pt x="0" y="83"/>
                    <a:pt x="0" y="76"/>
                  </a:cubicBezTo>
                  <a:cubicBezTo>
                    <a:pt x="0" y="4"/>
                    <a:pt x="0" y="4"/>
                    <a:pt x="0" y="4"/>
                  </a:cubicBezTo>
                  <a:cubicBezTo>
                    <a:pt x="0" y="2"/>
                    <a:pt x="2" y="0"/>
                    <a:pt x="4" y="0"/>
                  </a:cubicBezTo>
                  <a:cubicBezTo>
                    <a:pt x="36" y="0"/>
                    <a:pt x="36" y="0"/>
                    <a:pt x="36" y="0"/>
                  </a:cubicBezTo>
                  <a:cubicBezTo>
                    <a:pt x="37" y="0"/>
                    <a:pt x="38" y="1"/>
                    <a:pt x="39" y="2"/>
                  </a:cubicBezTo>
                  <a:cubicBezTo>
                    <a:pt x="50" y="16"/>
                    <a:pt x="50" y="16"/>
                    <a:pt x="50" y="16"/>
                  </a:cubicBezTo>
                  <a:cubicBezTo>
                    <a:pt x="92" y="16"/>
                    <a:pt x="92" y="16"/>
                    <a:pt x="92" y="16"/>
                  </a:cubicBezTo>
                  <a:cubicBezTo>
                    <a:pt x="94" y="16"/>
                    <a:pt x="96" y="18"/>
                    <a:pt x="96" y="20"/>
                  </a:cubicBezTo>
                  <a:cubicBezTo>
                    <a:pt x="96" y="76"/>
                    <a:pt x="96" y="76"/>
                    <a:pt x="96" y="76"/>
                  </a:cubicBezTo>
                  <a:cubicBezTo>
                    <a:pt x="96" y="83"/>
                    <a:pt x="91" y="88"/>
                    <a:pt x="84" y="8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6"/>
            <p:cNvSpPr>
              <a:spLocks noEditPoints="1"/>
            </p:cNvSpPr>
            <p:nvPr/>
          </p:nvSpPr>
          <p:spPr bwMode="auto">
            <a:xfrm>
              <a:off x="368" y="780"/>
              <a:ext cx="149" cy="149"/>
            </a:xfrm>
            <a:custGeom>
              <a:avLst/>
              <a:gdLst>
                <a:gd name="T0" fmla="*/ 4 w 56"/>
                <a:gd name="T1" fmla="*/ 56 h 56"/>
                <a:gd name="T2" fmla="*/ 1 w 56"/>
                <a:gd name="T3" fmla="*/ 55 h 56"/>
                <a:gd name="T4" fmla="*/ 0 w 56"/>
                <a:gd name="T5" fmla="*/ 51 h 56"/>
                <a:gd name="T6" fmla="*/ 4 w 56"/>
                <a:gd name="T7" fmla="*/ 35 h 56"/>
                <a:gd name="T8" fmla="*/ 5 w 56"/>
                <a:gd name="T9" fmla="*/ 33 h 56"/>
                <a:gd name="T10" fmla="*/ 37 w 56"/>
                <a:gd name="T11" fmla="*/ 1 h 56"/>
                <a:gd name="T12" fmla="*/ 43 w 56"/>
                <a:gd name="T13" fmla="*/ 1 h 56"/>
                <a:gd name="T14" fmla="*/ 55 w 56"/>
                <a:gd name="T15" fmla="*/ 13 h 56"/>
                <a:gd name="T16" fmla="*/ 55 w 56"/>
                <a:gd name="T17" fmla="*/ 19 h 56"/>
                <a:gd name="T18" fmla="*/ 23 w 56"/>
                <a:gd name="T19" fmla="*/ 51 h 56"/>
                <a:gd name="T20" fmla="*/ 21 w 56"/>
                <a:gd name="T21" fmla="*/ 52 h 56"/>
                <a:gd name="T22" fmla="*/ 5 w 56"/>
                <a:gd name="T23" fmla="*/ 56 h 56"/>
                <a:gd name="T24" fmla="*/ 4 w 56"/>
                <a:gd name="T25" fmla="*/ 56 h 56"/>
                <a:gd name="T26" fmla="*/ 20 w 56"/>
                <a:gd name="T27" fmla="*/ 48 h 56"/>
                <a:gd name="T28" fmla="*/ 20 w 56"/>
                <a:gd name="T29" fmla="*/ 48 h 56"/>
                <a:gd name="T30" fmla="*/ 12 w 56"/>
                <a:gd name="T31" fmla="*/ 38 h 56"/>
                <a:gd name="T32" fmla="*/ 9 w 56"/>
                <a:gd name="T33" fmla="*/ 47 h 56"/>
                <a:gd name="T34" fmla="*/ 18 w 56"/>
                <a:gd name="T35" fmla="*/ 44 h 56"/>
                <a:gd name="T36" fmla="*/ 46 w 56"/>
                <a:gd name="T37" fmla="*/ 16 h 56"/>
                <a:gd name="T38" fmla="*/ 40 w 56"/>
                <a:gd name="T39" fmla="*/ 10 h 56"/>
                <a:gd name="T40" fmla="*/ 12 w 56"/>
                <a:gd name="T4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6">
                  <a:moveTo>
                    <a:pt x="4" y="56"/>
                  </a:moveTo>
                  <a:cubicBezTo>
                    <a:pt x="3" y="56"/>
                    <a:pt x="2" y="56"/>
                    <a:pt x="1" y="55"/>
                  </a:cubicBezTo>
                  <a:cubicBezTo>
                    <a:pt x="0" y="54"/>
                    <a:pt x="0" y="52"/>
                    <a:pt x="0" y="51"/>
                  </a:cubicBezTo>
                  <a:cubicBezTo>
                    <a:pt x="4" y="35"/>
                    <a:pt x="4" y="35"/>
                    <a:pt x="4" y="35"/>
                  </a:cubicBezTo>
                  <a:cubicBezTo>
                    <a:pt x="4" y="34"/>
                    <a:pt x="5" y="34"/>
                    <a:pt x="5" y="33"/>
                  </a:cubicBezTo>
                  <a:cubicBezTo>
                    <a:pt x="37" y="1"/>
                    <a:pt x="37" y="1"/>
                    <a:pt x="37" y="1"/>
                  </a:cubicBezTo>
                  <a:cubicBezTo>
                    <a:pt x="39" y="0"/>
                    <a:pt x="41" y="0"/>
                    <a:pt x="43" y="1"/>
                  </a:cubicBezTo>
                  <a:cubicBezTo>
                    <a:pt x="55" y="13"/>
                    <a:pt x="55" y="13"/>
                    <a:pt x="55" y="13"/>
                  </a:cubicBezTo>
                  <a:cubicBezTo>
                    <a:pt x="56" y="15"/>
                    <a:pt x="56" y="17"/>
                    <a:pt x="55" y="19"/>
                  </a:cubicBezTo>
                  <a:cubicBezTo>
                    <a:pt x="23" y="51"/>
                    <a:pt x="23" y="51"/>
                    <a:pt x="23" y="51"/>
                  </a:cubicBezTo>
                  <a:cubicBezTo>
                    <a:pt x="22" y="51"/>
                    <a:pt x="22" y="52"/>
                    <a:pt x="21" y="52"/>
                  </a:cubicBezTo>
                  <a:cubicBezTo>
                    <a:pt x="5" y="56"/>
                    <a:pt x="5" y="56"/>
                    <a:pt x="5" y="56"/>
                  </a:cubicBezTo>
                  <a:cubicBezTo>
                    <a:pt x="5" y="56"/>
                    <a:pt x="4" y="56"/>
                    <a:pt x="4" y="56"/>
                  </a:cubicBezTo>
                  <a:close/>
                  <a:moveTo>
                    <a:pt x="20" y="48"/>
                  </a:moveTo>
                  <a:cubicBezTo>
                    <a:pt x="20" y="48"/>
                    <a:pt x="20" y="48"/>
                    <a:pt x="20" y="48"/>
                  </a:cubicBezTo>
                  <a:close/>
                  <a:moveTo>
                    <a:pt x="12" y="38"/>
                  </a:moveTo>
                  <a:cubicBezTo>
                    <a:pt x="9" y="47"/>
                    <a:pt x="9" y="47"/>
                    <a:pt x="9" y="47"/>
                  </a:cubicBezTo>
                  <a:cubicBezTo>
                    <a:pt x="18" y="44"/>
                    <a:pt x="18" y="44"/>
                    <a:pt x="18" y="44"/>
                  </a:cubicBezTo>
                  <a:cubicBezTo>
                    <a:pt x="46" y="16"/>
                    <a:pt x="46" y="16"/>
                    <a:pt x="46" y="16"/>
                  </a:cubicBezTo>
                  <a:cubicBezTo>
                    <a:pt x="40" y="10"/>
                    <a:pt x="40" y="10"/>
                    <a:pt x="40" y="10"/>
                  </a:cubicBezTo>
                  <a:lnTo>
                    <a:pt x="12"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9" name="Freeform 19"/>
          <p:cNvSpPr>
            <a:spLocks noEditPoints="1"/>
          </p:cNvSpPr>
          <p:nvPr userDrawn="1"/>
        </p:nvSpPr>
        <p:spPr bwMode="auto">
          <a:xfrm>
            <a:off x="11443117" y="3852981"/>
            <a:ext cx="303967" cy="292709"/>
          </a:xfrm>
          <a:custGeom>
            <a:avLst/>
            <a:gdLst>
              <a:gd name="T0" fmla="*/ 92 w 96"/>
              <a:gd name="T1" fmla="*/ 93 h 93"/>
              <a:gd name="T2" fmla="*/ 4 w 96"/>
              <a:gd name="T3" fmla="*/ 93 h 93"/>
              <a:gd name="T4" fmla="*/ 0 w 96"/>
              <a:gd name="T5" fmla="*/ 89 h 93"/>
              <a:gd name="T6" fmla="*/ 0 w 96"/>
              <a:gd name="T7" fmla="*/ 79 h 93"/>
              <a:gd name="T8" fmla="*/ 9 w 96"/>
              <a:gd name="T9" fmla="*/ 67 h 93"/>
              <a:gd name="T10" fmla="*/ 31 w 96"/>
              <a:gd name="T11" fmla="*/ 62 h 93"/>
              <a:gd name="T12" fmla="*/ 35 w 96"/>
              <a:gd name="T13" fmla="*/ 59 h 93"/>
              <a:gd name="T14" fmla="*/ 34 w 96"/>
              <a:gd name="T15" fmla="*/ 52 h 93"/>
              <a:gd name="T16" fmla="*/ 24 w 96"/>
              <a:gd name="T17" fmla="*/ 33 h 93"/>
              <a:gd name="T18" fmla="*/ 24 w 96"/>
              <a:gd name="T19" fmla="*/ 25 h 93"/>
              <a:gd name="T20" fmla="*/ 32 w 96"/>
              <a:gd name="T21" fmla="*/ 7 h 93"/>
              <a:gd name="T22" fmla="*/ 50 w 96"/>
              <a:gd name="T23" fmla="*/ 1 h 93"/>
              <a:gd name="T24" fmla="*/ 72 w 96"/>
              <a:gd name="T25" fmla="*/ 26 h 93"/>
              <a:gd name="T26" fmla="*/ 72 w 96"/>
              <a:gd name="T27" fmla="*/ 33 h 93"/>
              <a:gd name="T28" fmla="*/ 62 w 96"/>
              <a:gd name="T29" fmla="*/ 52 h 93"/>
              <a:gd name="T30" fmla="*/ 61 w 96"/>
              <a:gd name="T31" fmla="*/ 58 h 93"/>
              <a:gd name="T32" fmla="*/ 65 w 96"/>
              <a:gd name="T33" fmla="*/ 62 h 93"/>
              <a:gd name="T34" fmla="*/ 66 w 96"/>
              <a:gd name="T35" fmla="*/ 62 h 93"/>
              <a:gd name="T36" fmla="*/ 74 w 96"/>
              <a:gd name="T37" fmla="*/ 64 h 93"/>
              <a:gd name="T38" fmla="*/ 87 w 96"/>
              <a:gd name="T39" fmla="*/ 68 h 93"/>
              <a:gd name="T40" fmla="*/ 96 w 96"/>
              <a:gd name="T41" fmla="*/ 79 h 93"/>
              <a:gd name="T42" fmla="*/ 96 w 96"/>
              <a:gd name="T43" fmla="*/ 89 h 93"/>
              <a:gd name="T44" fmla="*/ 92 w 96"/>
              <a:gd name="T45" fmla="*/ 93 h 93"/>
              <a:gd name="T46" fmla="*/ 8 w 96"/>
              <a:gd name="T47" fmla="*/ 85 h 93"/>
              <a:gd name="T48" fmla="*/ 88 w 96"/>
              <a:gd name="T49" fmla="*/ 85 h 93"/>
              <a:gd name="T50" fmla="*/ 88 w 96"/>
              <a:gd name="T51" fmla="*/ 79 h 93"/>
              <a:gd name="T52" fmla="*/ 85 w 96"/>
              <a:gd name="T53" fmla="*/ 75 h 93"/>
              <a:gd name="T54" fmla="*/ 85 w 96"/>
              <a:gd name="T55" fmla="*/ 75 h 93"/>
              <a:gd name="T56" fmla="*/ 72 w 96"/>
              <a:gd name="T57" fmla="*/ 72 h 93"/>
              <a:gd name="T58" fmla="*/ 63 w 96"/>
              <a:gd name="T59" fmla="*/ 70 h 93"/>
              <a:gd name="T60" fmla="*/ 53 w 96"/>
              <a:gd name="T61" fmla="*/ 61 h 93"/>
              <a:gd name="T62" fmla="*/ 58 w 96"/>
              <a:gd name="T63" fmla="*/ 46 h 93"/>
              <a:gd name="T64" fmla="*/ 64 w 96"/>
              <a:gd name="T65" fmla="*/ 33 h 93"/>
              <a:gd name="T66" fmla="*/ 64 w 96"/>
              <a:gd name="T67" fmla="*/ 26 h 93"/>
              <a:gd name="T68" fmla="*/ 50 w 96"/>
              <a:gd name="T69" fmla="*/ 9 h 93"/>
              <a:gd name="T70" fmla="*/ 37 w 96"/>
              <a:gd name="T71" fmla="*/ 13 h 93"/>
              <a:gd name="T72" fmla="*/ 32 w 96"/>
              <a:gd name="T73" fmla="*/ 25 h 93"/>
              <a:gd name="T74" fmla="*/ 32 w 96"/>
              <a:gd name="T75" fmla="*/ 33 h 93"/>
              <a:gd name="T76" fmla="*/ 38 w 96"/>
              <a:gd name="T77" fmla="*/ 46 h 93"/>
              <a:gd name="T78" fmla="*/ 43 w 96"/>
              <a:gd name="T79" fmla="*/ 61 h 93"/>
              <a:gd name="T80" fmla="*/ 32 w 96"/>
              <a:gd name="T81" fmla="*/ 70 h 93"/>
              <a:gd name="T82" fmla="*/ 11 w 96"/>
              <a:gd name="T83" fmla="*/ 75 h 93"/>
              <a:gd name="T84" fmla="*/ 8 w 96"/>
              <a:gd name="T85" fmla="*/ 79 h 93"/>
              <a:gd name="T86" fmla="*/ 8 w 96"/>
              <a:gd name="T87"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93">
                <a:moveTo>
                  <a:pt x="92" y="93"/>
                </a:moveTo>
                <a:cubicBezTo>
                  <a:pt x="4" y="93"/>
                  <a:pt x="4" y="93"/>
                  <a:pt x="4" y="93"/>
                </a:cubicBezTo>
                <a:cubicBezTo>
                  <a:pt x="2" y="93"/>
                  <a:pt x="0" y="91"/>
                  <a:pt x="0" y="89"/>
                </a:cubicBezTo>
                <a:cubicBezTo>
                  <a:pt x="0" y="79"/>
                  <a:pt x="0" y="79"/>
                  <a:pt x="0" y="79"/>
                </a:cubicBezTo>
                <a:cubicBezTo>
                  <a:pt x="0" y="73"/>
                  <a:pt x="4" y="69"/>
                  <a:pt x="9" y="67"/>
                </a:cubicBezTo>
                <a:cubicBezTo>
                  <a:pt x="15" y="66"/>
                  <a:pt x="28" y="62"/>
                  <a:pt x="31" y="62"/>
                </a:cubicBezTo>
                <a:cubicBezTo>
                  <a:pt x="34" y="61"/>
                  <a:pt x="35" y="59"/>
                  <a:pt x="35" y="59"/>
                </a:cubicBezTo>
                <a:cubicBezTo>
                  <a:pt x="36" y="55"/>
                  <a:pt x="35" y="53"/>
                  <a:pt x="34" y="52"/>
                </a:cubicBezTo>
                <a:cubicBezTo>
                  <a:pt x="28" y="48"/>
                  <a:pt x="24" y="41"/>
                  <a:pt x="24" y="33"/>
                </a:cubicBezTo>
                <a:cubicBezTo>
                  <a:pt x="24" y="25"/>
                  <a:pt x="24" y="25"/>
                  <a:pt x="24" y="25"/>
                </a:cubicBezTo>
                <a:cubicBezTo>
                  <a:pt x="24" y="18"/>
                  <a:pt x="27" y="12"/>
                  <a:pt x="32" y="7"/>
                </a:cubicBezTo>
                <a:cubicBezTo>
                  <a:pt x="37" y="2"/>
                  <a:pt x="44" y="0"/>
                  <a:pt x="50" y="1"/>
                </a:cubicBezTo>
                <a:cubicBezTo>
                  <a:pt x="63" y="2"/>
                  <a:pt x="72" y="13"/>
                  <a:pt x="72" y="26"/>
                </a:cubicBezTo>
                <a:cubicBezTo>
                  <a:pt x="72" y="33"/>
                  <a:pt x="72" y="33"/>
                  <a:pt x="72" y="33"/>
                </a:cubicBezTo>
                <a:cubicBezTo>
                  <a:pt x="72" y="41"/>
                  <a:pt x="69" y="48"/>
                  <a:pt x="62" y="52"/>
                </a:cubicBezTo>
                <a:cubicBezTo>
                  <a:pt x="61" y="53"/>
                  <a:pt x="60" y="54"/>
                  <a:pt x="61" y="58"/>
                </a:cubicBezTo>
                <a:cubicBezTo>
                  <a:pt x="62" y="60"/>
                  <a:pt x="63" y="61"/>
                  <a:pt x="65" y="62"/>
                </a:cubicBezTo>
                <a:cubicBezTo>
                  <a:pt x="65" y="62"/>
                  <a:pt x="66" y="62"/>
                  <a:pt x="66" y="62"/>
                </a:cubicBezTo>
                <a:cubicBezTo>
                  <a:pt x="67" y="62"/>
                  <a:pt x="71" y="63"/>
                  <a:pt x="74" y="64"/>
                </a:cubicBezTo>
                <a:cubicBezTo>
                  <a:pt x="79" y="65"/>
                  <a:pt x="83" y="67"/>
                  <a:pt x="87" y="68"/>
                </a:cubicBezTo>
                <a:cubicBezTo>
                  <a:pt x="92" y="69"/>
                  <a:pt x="96" y="74"/>
                  <a:pt x="96" y="79"/>
                </a:cubicBezTo>
                <a:cubicBezTo>
                  <a:pt x="96" y="89"/>
                  <a:pt x="96" y="89"/>
                  <a:pt x="96" y="89"/>
                </a:cubicBezTo>
                <a:cubicBezTo>
                  <a:pt x="96" y="91"/>
                  <a:pt x="94" y="93"/>
                  <a:pt x="92" y="93"/>
                </a:cubicBezTo>
                <a:close/>
                <a:moveTo>
                  <a:pt x="8" y="85"/>
                </a:moveTo>
                <a:cubicBezTo>
                  <a:pt x="88" y="85"/>
                  <a:pt x="88" y="85"/>
                  <a:pt x="88" y="85"/>
                </a:cubicBezTo>
                <a:cubicBezTo>
                  <a:pt x="88" y="79"/>
                  <a:pt x="88" y="79"/>
                  <a:pt x="88" y="79"/>
                </a:cubicBezTo>
                <a:cubicBezTo>
                  <a:pt x="88" y="77"/>
                  <a:pt x="87" y="76"/>
                  <a:pt x="85" y="75"/>
                </a:cubicBezTo>
                <a:cubicBezTo>
                  <a:pt x="85" y="75"/>
                  <a:pt x="85" y="75"/>
                  <a:pt x="85" y="75"/>
                </a:cubicBezTo>
                <a:cubicBezTo>
                  <a:pt x="81" y="74"/>
                  <a:pt x="77" y="73"/>
                  <a:pt x="72" y="72"/>
                </a:cubicBezTo>
                <a:cubicBezTo>
                  <a:pt x="68" y="71"/>
                  <a:pt x="65" y="70"/>
                  <a:pt x="63" y="70"/>
                </a:cubicBezTo>
                <a:cubicBezTo>
                  <a:pt x="58" y="68"/>
                  <a:pt x="55" y="65"/>
                  <a:pt x="53" y="61"/>
                </a:cubicBezTo>
                <a:cubicBezTo>
                  <a:pt x="52" y="54"/>
                  <a:pt x="53" y="49"/>
                  <a:pt x="58" y="46"/>
                </a:cubicBezTo>
                <a:cubicBezTo>
                  <a:pt x="62" y="43"/>
                  <a:pt x="64" y="38"/>
                  <a:pt x="64" y="33"/>
                </a:cubicBezTo>
                <a:cubicBezTo>
                  <a:pt x="64" y="26"/>
                  <a:pt x="64" y="26"/>
                  <a:pt x="64" y="26"/>
                </a:cubicBezTo>
                <a:cubicBezTo>
                  <a:pt x="64" y="17"/>
                  <a:pt x="58" y="10"/>
                  <a:pt x="50" y="9"/>
                </a:cubicBezTo>
                <a:cubicBezTo>
                  <a:pt x="45" y="9"/>
                  <a:pt x="41" y="10"/>
                  <a:pt x="37" y="13"/>
                </a:cubicBezTo>
                <a:cubicBezTo>
                  <a:pt x="34" y="16"/>
                  <a:pt x="32" y="20"/>
                  <a:pt x="32" y="25"/>
                </a:cubicBezTo>
                <a:cubicBezTo>
                  <a:pt x="32" y="33"/>
                  <a:pt x="32" y="33"/>
                  <a:pt x="32" y="33"/>
                </a:cubicBezTo>
                <a:cubicBezTo>
                  <a:pt x="32" y="38"/>
                  <a:pt x="34" y="43"/>
                  <a:pt x="38" y="46"/>
                </a:cubicBezTo>
                <a:cubicBezTo>
                  <a:pt x="42" y="48"/>
                  <a:pt x="45" y="53"/>
                  <a:pt x="43" y="61"/>
                </a:cubicBezTo>
                <a:cubicBezTo>
                  <a:pt x="42" y="65"/>
                  <a:pt x="38" y="68"/>
                  <a:pt x="32" y="70"/>
                </a:cubicBezTo>
                <a:cubicBezTo>
                  <a:pt x="30" y="70"/>
                  <a:pt x="19" y="73"/>
                  <a:pt x="11" y="75"/>
                </a:cubicBezTo>
                <a:cubicBezTo>
                  <a:pt x="9" y="76"/>
                  <a:pt x="8" y="77"/>
                  <a:pt x="8" y="79"/>
                </a:cubicBezTo>
                <a:lnTo>
                  <a:pt x="8" y="8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cxnSp>
        <p:nvCxnSpPr>
          <p:cNvPr id="13" name="Straight Connector 12"/>
          <p:cNvCxnSpPr/>
          <p:nvPr userDrawn="1"/>
        </p:nvCxnSpPr>
        <p:spPr>
          <a:xfrm>
            <a:off x="11239500" y="1145870"/>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1239500" y="2297642"/>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239500" y="3433551"/>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11239500" y="4559336"/>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11239500" y="5713825"/>
            <a:ext cx="7112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userDrawn="1"/>
        </p:nvSpPr>
        <p:spPr>
          <a:xfrm>
            <a:off x="482600" y="3069021"/>
            <a:ext cx="4533900" cy="1131079"/>
          </a:xfrm>
          <a:prstGeom prst="rect">
            <a:avLst/>
          </a:prstGeom>
          <a:noFill/>
        </p:spPr>
        <p:txBody>
          <a:bodyPr wrap="square" lIns="0" tIns="0" rIns="0" bIns="0" rtlCol="0">
            <a:spAutoFit/>
          </a:bodyPr>
          <a:lstStyle/>
          <a:p>
            <a:pPr algn="l"/>
            <a:r>
              <a:rPr lang="en-US" sz="1050" dirty="0" smtClean="0">
                <a:solidFill>
                  <a:srgbClr val="FF0000"/>
                </a:solidFill>
              </a:rPr>
              <a:t>These slides provide</a:t>
            </a:r>
            <a:r>
              <a:rPr lang="en-US" sz="1050" baseline="0" dirty="0" smtClean="0">
                <a:solidFill>
                  <a:srgbClr val="FF0000"/>
                </a:solidFill>
              </a:rPr>
              <a:t> options to create a clickable navigation elements to jump to different sections of your presentation. To create clickable elements (and to remove this note) choose “Slide Master” from the “View” tab.</a:t>
            </a:r>
          </a:p>
          <a:p>
            <a:pPr algn="l"/>
            <a:endParaRPr lang="en-US" sz="1050" baseline="0" dirty="0" smtClean="0">
              <a:solidFill>
                <a:srgbClr val="FF0000"/>
              </a:solidFill>
            </a:endParaRPr>
          </a:p>
          <a:p>
            <a:pPr algn="l"/>
            <a:r>
              <a:rPr lang="en-US" sz="1050" baseline="0" dirty="0" smtClean="0">
                <a:solidFill>
                  <a:srgbClr val="FF0000"/>
                </a:solidFill>
              </a:rPr>
              <a:t>To create hyperlinks on the navigation elements, select the element and choose “Hyperlink” from the “Insert” tab. Then choose “Place in This Document” from the dialog box and select a slide.</a:t>
            </a:r>
            <a:endParaRPr lang="en-US" sz="1050" dirty="0">
              <a:solidFill>
                <a:srgbClr val="FF0000"/>
              </a:solidFill>
            </a:endParaRPr>
          </a:p>
        </p:txBody>
      </p:sp>
    </p:spTree>
    <p:extLst>
      <p:ext uri="{BB962C8B-B14F-4D97-AF65-F5344CB8AC3E}">
        <p14:creationId xmlns:p14="http://schemas.microsoft.com/office/powerpoint/2010/main" val="28626440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2"/>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055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553624" cy="1846659"/>
          </a:xfrm>
          <a:prstGeom prst="rect">
            <a:avLst/>
          </a:prstGeom>
          <a:noFill/>
        </p:spPr>
        <p:txBody>
          <a:bodyPr wrap="none" lIns="0" tIns="0" rIns="0" bIns="0" rtlCol="0" anchor="ctr">
            <a:spAutoFit/>
          </a:bodyPr>
          <a:lstStyle/>
          <a:p>
            <a:pPr algn="l"/>
            <a:r>
              <a:rPr lang="en-US" sz="12000" b="1" i="0" dirty="0" smtClean="0">
                <a:solidFill>
                  <a:schemeClr val="bg1"/>
                </a:solidFill>
                <a:latin typeface="Arial" panose="020B0604020202020204" pitchFamily="34" charset="0"/>
                <a:cs typeface="Arial" panose="020B0604020202020204" pitchFamily="34" charset="0"/>
              </a:rPr>
              <a:t>Back pages</a:t>
            </a:r>
            <a:endParaRPr lang="en-US" sz="12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24727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575"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41171F7F-6D9E-5F49-9AA3-DEF9F2C59F0F}"/>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666530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2599"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1C5E338E-16D3-0A44-9BC7-F9FCD3106CF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2984402"/>
            <a:ext cx="2615184" cy="544830"/>
          </a:xfrm>
          <a:prstGeom prst="rect">
            <a:avLst/>
          </a:prstGeom>
        </p:spPr>
      </p:pic>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37066703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623"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0"/>
              </a:spcBef>
              <a:defRPr sz="800">
                <a:solidFill>
                  <a:schemeClr val="tx2"/>
                </a:solidFill>
              </a:defRPr>
            </a:lvl1pPr>
          </a:lstStyle>
          <a:p>
            <a:pPr lvl="0"/>
            <a:r>
              <a:rPr lang="en-US" dirty="0"/>
              <a:t>Click to add disclaimer</a:t>
            </a:r>
          </a:p>
        </p:txBody>
      </p:sp>
      <p:pic>
        <p:nvPicPr>
          <p:cNvPr id="11" name="Graphic 10">
            <a:extLst>
              <a:ext uri="{FF2B5EF4-FFF2-40B4-BE49-F238E27FC236}">
                <a16:creationId xmlns:a16="http://schemas.microsoft.com/office/drawing/2014/main" id="{7A1D7202-DC3D-C64A-8448-4612A72608D8}"/>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tx2"/>
                </a:solidFill>
                <a:effectLst/>
                <a:latin typeface="Arial" panose="020B0604020202020204" pitchFamily="34" charset="0"/>
              </a:rPr>
              <a:t>A business of Marsh McLennan</a:t>
            </a:r>
            <a:endParaRPr lang="en-US" sz="1400" dirty="0">
              <a:solidFill>
                <a:schemeClr val="tx2"/>
              </a:solidFill>
            </a:endParaRPr>
          </a:p>
        </p:txBody>
      </p:sp>
    </p:spTree>
    <p:extLst>
      <p:ext uri="{BB962C8B-B14F-4D97-AF65-F5344CB8AC3E}">
        <p14:creationId xmlns:p14="http://schemas.microsoft.com/office/powerpoint/2010/main" val="9091251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2"/>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647"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0"/>
              </a:spcBef>
              <a:defRPr sz="800">
                <a:solidFill>
                  <a:schemeClr val="bg1"/>
                </a:solidFill>
              </a:defRPr>
            </a:lvl1pPr>
          </a:lstStyle>
          <a:p>
            <a:pPr lvl="0"/>
            <a:r>
              <a:rPr lang="en-US" dirty="0"/>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pic>
        <p:nvPicPr>
          <p:cNvPr id="9" name="Graphic 8">
            <a:extLst>
              <a:ext uri="{FF2B5EF4-FFF2-40B4-BE49-F238E27FC236}">
                <a16:creationId xmlns:a16="http://schemas.microsoft.com/office/drawing/2014/main" id="{1C0978F2-580C-D846-BB1D-2538154CE247}"/>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486802" y="554729"/>
            <a:ext cx="1857071" cy="386890"/>
          </a:xfrm>
          <a:prstGeom prst="rect">
            <a:avLst/>
          </a:prstGeom>
        </p:spPr>
      </p:pic>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dirty="0">
                <a:solidFill>
                  <a:schemeClr val="bg1"/>
                </a:solidFill>
                <a:effectLst/>
                <a:latin typeface="Arial" panose="020B0604020202020204" pitchFamily="34" charset="0"/>
              </a:rPr>
              <a:t>A business of Marsh McLennan</a:t>
            </a:r>
            <a:endParaRPr lang="en-US" sz="1400" dirty="0">
              <a:solidFill>
                <a:schemeClr val="bg1"/>
              </a:solidFill>
            </a:endParaRPr>
          </a:p>
        </p:txBody>
      </p:sp>
    </p:spTree>
    <p:extLst>
      <p:ext uri="{BB962C8B-B14F-4D97-AF65-F5344CB8AC3E}">
        <p14:creationId xmlns:p14="http://schemas.microsoft.com/office/powerpoint/2010/main" val="27078230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543"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317755" y="1616075"/>
            <a:ext cx="3578224" cy="4505325"/>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2112792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567"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3352800" y="1616075"/>
            <a:ext cx="2628900"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defRPr sz="15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659348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2"/>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59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39776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3551426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2"/>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616"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9828572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65"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77" Type="http://schemas.openxmlformats.org/officeDocument/2006/relationships/image" Target="../media/image3.sv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62"/>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05" name="think-cell Slide" r:id="rId63" imgW="7772400" imgH="10058400" progId="TCLayout.ActiveDocument.1">
                  <p:embed/>
                </p:oleObj>
              </mc:Choice>
              <mc:Fallback>
                <p:oleObj name="think-cell Slide" r:id="rId63"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64"/>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dirty="0"/>
              <a:t>Click to edit Master text styles</a:t>
            </a:r>
          </a:p>
          <a:p>
            <a:pPr lvl="1"/>
            <a:r>
              <a:rPr lang="en-US" dirty="0"/>
              <a:t>First-level bullet</a:t>
            </a:r>
          </a:p>
          <a:p>
            <a:pPr lvl="2"/>
            <a:r>
              <a:rPr lang="en-US" dirty="0"/>
              <a:t>Second-level bullet</a:t>
            </a:r>
          </a:p>
          <a:p>
            <a:pPr lvl="3"/>
            <a:r>
              <a:rPr lang="en-US" dirty="0"/>
              <a:t>Third-level bullet</a:t>
            </a:r>
          </a:p>
          <a:p>
            <a:pPr lvl="4"/>
            <a:r>
              <a:rPr lang="en-US" dirty="0"/>
              <a:t>Fourth-level bullet</a:t>
            </a:r>
          </a:p>
          <a:p>
            <a:pPr lvl="5"/>
            <a:r>
              <a:rPr lang="en-US" dirty="0"/>
              <a:t>Fifth-level bullet</a:t>
            </a:r>
          </a:p>
          <a:p>
            <a:pPr lvl="6"/>
            <a:r>
              <a:rPr lang="en-US" dirty="0"/>
              <a:t>Sixth-level bullet</a:t>
            </a:r>
          </a:p>
          <a:p>
            <a:pPr lvl="7"/>
            <a:r>
              <a:rPr lang="en-US" dirty="0"/>
              <a:t>Seventh-level bullet</a:t>
            </a:r>
          </a:p>
          <a:p>
            <a:pPr lvl="8"/>
            <a:r>
              <a:rPr lang="en-US" dirty="0"/>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dirty="0">
              <a:solidFill>
                <a:schemeClr val="tx1"/>
              </a:solidFill>
              <a:effectLst/>
              <a:latin typeface="+mn-lt"/>
              <a:ea typeface="+mn-ea"/>
              <a:cs typeface="+mn-cs"/>
            </a:endParaRP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p:nvPicPr>
        <p:blipFill>
          <a:blip r:embed="rId65">
            <a:extLst>
              <a:ext uri="{96DAC541-7B7A-43D3-8B79-37D633B846F1}">
                <asvg:svgBlip xmlns="" xmlns:asvg="http://schemas.microsoft.com/office/drawing/2016/SVG/main" r:embed="rId77"/>
              </a:ext>
            </a:extLst>
          </a:blip>
          <a:stretch>
            <a:fillRect/>
          </a:stretch>
        </p:blipFill>
        <p:spPr>
          <a:xfrm>
            <a:off x="485608" y="6515100"/>
            <a:ext cx="630936" cy="131445"/>
          </a:xfrm>
          <a:prstGeom prst="rect">
            <a:avLst/>
          </a:prstGeom>
        </p:spPr>
      </p:pic>
      <p:sp>
        <p:nvSpPr>
          <p:cNvPr id="7" name="TextBox 6">
            <a:extLst>
              <a:ext uri="{FF2B5EF4-FFF2-40B4-BE49-F238E27FC236}">
                <a16:creationId xmlns:a16="http://schemas.microsoft.com/office/drawing/2014/main" id="{09BA50B2-6484-EC4D-AF6E-8573FB70C5FE}"/>
              </a:ext>
            </a:extLst>
          </p:cNvPr>
          <p:cNvSpPr txBox="1"/>
          <p:nvPr userDrawn="1"/>
        </p:nvSpPr>
        <p:spPr>
          <a:xfrm>
            <a:off x="1409700" y="6517153"/>
            <a:ext cx="3606800" cy="121966"/>
          </a:xfrm>
          <a:prstGeom prst="rect">
            <a:avLst/>
          </a:prstGeom>
          <a:noFill/>
        </p:spPr>
        <p:txBody>
          <a:bodyPr wrap="none" lIns="0" tIns="0" rIns="0" bIns="0" rtlCol="0">
            <a:noAutofit/>
          </a:bodyPr>
          <a:lstStyle/>
          <a:p>
            <a:pPr indent="-457200">
              <a:spcBef>
                <a:spcPts val="1800"/>
              </a:spcBef>
            </a:pPr>
            <a:endParaRPr lang="en-US" sz="800" dirty="0">
              <a:solidFill>
                <a:schemeClr val="bg2"/>
              </a:solidFill>
            </a:endParaRPr>
          </a:p>
        </p:txBody>
      </p:sp>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737"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35" r:id="rId12"/>
    <p:sldLayoutId id="2147483736" r:id="rId13"/>
    <p:sldLayoutId id="2147483672" r:id="rId14"/>
    <p:sldLayoutId id="2147483717" r:id="rId15"/>
    <p:sldLayoutId id="2147483674" r:id="rId16"/>
    <p:sldLayoutId id="2147483675" r:id="rId17"/>
    <p:sldLayoutId id="2147483676" r:id="rId18"/>
    <p:sldLayoutId id="2147483677" r:id="rId19"/>
    <p:sldLayoutId id="2147483678" r:id="rId20"/>
    <p:sldLayoutId id="2147483679" r:id="rId21"/>
    <p:sldLayoutId id="2147483696" r:id="rId22"/>
    <p:sldLayoutId id="2147483714" r:id="rId23"/>
    <p:sldLayoutId id="2147483715" r:id="rId24"/>
    <p:sldLayoutId id="2147483661" r:id="rId25"/>
    <p:sldLayoutId id="2147483697" r:id="rId26"/>
    <p:sldLayoutId id="2147483698" r:id="rId27"/>
    <p:sldLayoutId id="2147483701" r:id="rId28"/>
    <p:sldLayoutId id="2147483702" r:id="rId29"/>
    <p:sldLayoutId id="2147483703" r:id="rId30"/>
    <p:sldLayoutId id="2147483706" r:id="rId31"/>
    <p:sldLayoutId id="2147483707" r:id="rId32"/>
    <p:sldLayoutId id="2147483708" r:id="rId33"/>
    <p:sldLayoutId id="2147483687" r:id="rId34"/>
    <p:sldLayoutId id="2147483688" r:id="rId35"/>
    <p:sldLayoutId id="2147483689" r:id="rId36"/>
    <p:sldLayoutId id="2147483718" r:id="rId37"/>
    <p:sldLayoutId id="2147483690" r:id="rId38"/>
    <p:sldLayoutId id="2147483691" r:id="rId39"/>
    <p:sldLayoutId id="2147483716" r:id="rId40"/>
    <p:sldLayoutId id="2147483684" r:id="rId41"/>
    <p:sldLayoutId id="2147483680" r:id="rId42"/>
    <p:sldLayoutId id="2147483681" r:id="rId43"/>
    <p:sldLayoutId id="2147483682" r:id="rId44"/>
    <p:sldLayoutId id="2147483683" r:id="rId45"/>
    <p:sldLayoutId id="2147483734" r:id="rId46"/>
    <p:sldLayoutId id="2147483719" r:id="rId47"/>
    <p:sldLayoutId id="2147483685" r:id="rId48"/>
    <p:sldLayoutId id="2147483686" r:id="rId49"/>
    <p:sldLayoutId id="2147483726" r:id="rId50"/>
    <p:sldLayoutId id="2147483727" r:id="rId51"/>
    <p:sldLayoutId id="2147483729" r:id="rId52"/>
    <p:sldLayoutId id="2147483732" r:id="rId53"/>
    <p:sldLayoutId id="2147483733" r:id="rId54"/>
    <p:sldLayoutId id="2147483709" r:id="rId55"/>
    <p:sldLayoutId id="2147483710" r:id="rId56"/>
    <p:sldLayoutId id="2147483711" r:id="rId57"/>
    <p:sldLayoutId id="2147483712" r:id="rId58"/>
    <p:sldLayoutId id="2147483713" r:id="rId59"/>
  </p:sldLayoutIdLst>
  <p:hf hdr="0" ftr="0" dt="0"/>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1200"/>
        </a:spcBef>
        <a:spcAft>
          <a:spcPts val="600"/>
        </a:spcAft>
        <a:buFont typeface="Arial"/>
        <a:buNone/>
        <a:defRPr sz="1800" b="0" kern="1200">
          <a:solidFill>
            <a:schemeClr val="tx1"/>
          </a:solidFill>
          <a:latin typeface="+mn-lt"/>
          <a:ea typeface="+mn-ea"/>
          <a:cs typeface="+mn-cs"/>
        </a:defRPr>
      </a:lvl1pPr>
      <a:lvl2pPr marL="228600" indent="-225425"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457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914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146175"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6pPr>
      <a:lvl7pPr marL="1374775" indent="-228600"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7pPr>
      <a:lvl8pPr marL="1601788" indent="-227013" algn="l" defTabSz="457200" rtl="0" eaLnBrk="1" latinLnBrk="0" hangingPunct="1">
        <a:spcBef>
          <a:spcPts val="0"/>
        </a:spcBef>
        <a:spcAft>
          <a:spcPts val="600"/>
        </a:spcAft>
        <a:buFont typeface="Arial"/>
        <a:buChar char="•"/>
        <a:tabLst/>
        <a:defRPr sz="1200" kern="1200">
          <a:solidFill>
            <a:schemeClr val="tx1"/>
          </a:solidFill>
          <a:latin typeface="+mn-lt"/>
          <a:ea typeface="+mn-ea"/>
          <a:cs typeface="+mn-cs"/>
        </a:defRPr>
      </a:lvl8pPr>
      <a:lvl9pPr marL="1830388" indent="-219075" algn="l" defTabSz="457200" rtl="0" eaLnBrk="1" latinLnBrk="0" hangingPunct="1">
        <a:spcBef>
          <a:spcPts val="0"/>
        </a:spcBef>
        <a:spcAft>
          <a:spcPts val="600"/>
        </a:spcAft>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www.ue.org/risk-management/the-workplace/manage-risks-associated-with-faculty-use-of-social-media/"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hyperlink" Target="https://www.medicalnewstoday.com/articles/social-media-addiction#why-is-it-addictive" TargetMode="External"/><Relationship Id="rId3" Type="http://schemas.openxmlformats.org/officeDocument/2006/relationships/hyperlink" Target="https://www.bbc.com/news/technology-44640959" TargetMode="External"/><Relationship Id="rId7" Type="http://schemas.openxmlformats.org/officeDocument/2006/relationships/hyperlink" Target="https://www.ue.org/risk-management/sexual-assault-and-misconduct/campus-sexual-misconduct-and-student-social-media-posts/"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hyperlink" Target="https://cyberbullying.org/" TargetMode="External"/><Relationship Id="rId5" Type="http://schemas.openxmlformats.org/officeDocument/2006/relationships/hyperlink" Target="https://www.ncbi.nlm.nih.gov/pmc/articles/PMC8493361/" TargetMode="External"/><Relationship Id="rId4" Type="http://schemas.openxmlformats.org/officeDocument/2006/relationships/hyperlink" Target="https://www.hhs.gov/sites/default/files/sg-youth-mental-health-social-media-advisory.pdf"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8" Type="http://schemas.openxmlformats.org/officeDocument/2006/relationships/hyperlink" Target="https://www.hhs.gov/sites/default/files/sg-youth-mental-health-social-media-advisory.pdf" TargetMode="External"/><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jfif"/><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hyperlink" Target="https://www.hhs.gov/sites/default/files/sg-youth-mental-health-social-media-advisory.pdf" TargetMode="Externa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s://cyberbullying.org/most-popular-social-media-apps"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bbc.com/news/technology-44640959"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Social Media Risk</a:t>
            </a:r>
            <a:endParaRPr lang="en-US" dirty="0"/>
          </a:p>
        </p:txBody>
      </p:sp>
      <p:sp>
        <p:nvSpPr>
          <p:cNvPr id="8" name="Subtitle 7"/>
          <p:cNvSpPr>
            <a:spLocks noGrp="1"/>
          </p:cNvSpPr>
          <p:nvPr>
            <p:ph type="subTitle" idx="1"/>
          </p:nvPr>
        </p:nvSpPr>
        <p:spPr/>
        <p:txBody>
          <a:bodyPr/>
          <a:lstStyle/>
          <a:p>
            <a:r>
              <a:rPr lang="en-US" dirty="0" smtClean="0"/>
              <a:t>An Emerging Threat</a:t>
            </a:r>
            <a:endParaRPr lang="en-US" dirty="0"/>
          </a:p>
        </p:txBody>
      </p:sp>
      <p:sp>
        <p:nvSpPr>
          <p:cNvPr id="9" name="Text Placeholder 8"/>
          <p:cNvSpPr>
            <a:spLocks noGrp="1"/>
          </p:cNvSpPr>
          <p:nvPr>
            <p:ph type="body" sz="half" idx="2"/>
          </p:nvPr>
        </p:nvSpPr>
        <p:spPr/>
        <p:txBody>
          <a:bodyPr/>
          <a:lstStyle/>
          <a:p>
            <a:pPr>
              <a:spcBef>
                <a:spcPct val="20000"/>
              </a:spcBef>
            </a:pPr>
            <a:r>
              <a:rPr lang="en-US" b="1" dirty="0">
                <a:solidFill>
                  <a:srgbClr val="FFFFFF"/>
                </a:solidFill>
              </a:rPr>
              <a:t>Cindy Smail, Loss Control Consultant</a:t>
            </a:r>
            <a:br>
              <a:rPr lang="en-US" b="1" dirty="0">
                <a:solidFill>
                  <a:srgbClr val="FFFFFF"/>
                </a:solidFill>
              </a:rPr>
            </a:br>
            <a:r>
              <a:rPr lang="en-US" b="1" dirty="0">
                <a:solidFill>
                  <a:srgbClr val="FFFFFF"/>
                </a:solidFill>
              </a:rPr>
              <a:t>Marsh A</a:t>
            </a:r>
            <a:r>
              <a:rPr lang="en-US" b="1" dirty="0" smtClean="0">
                <a:solidFill>
                  <a:srgbClr val="FFFFFF"/>
                </a:solidFill>
              </a:rPr>
              <a:t>dvisory</a:t>
            </a:r>
            <a:endParaRPr lang="en-US" dirty="0">
              <a:solidFill>
                <a:srgbClr val="FFFFFF"/>
              </a:solidFill>
            </a:endParaRPr>
          </a:p>
        </p:txBody>
      </p:sp>
      <p:pic>
        <p:nvPicPr>
          <p:cNvPr id="5" name="Picture 4" descr="Music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21287" y="350933"/>
            <a:ext cx="3619644" cy="1109068"/>
          </a:xfrm>
          <a:prstGeom prst="rect">
            <a:avLst/>
          </a:prstGeom>
          <a:solidFill>
            <a:schemeClr val="bg1"/>
          </a:solidFill>
          <a:ln>
            <a:noFill/>
          </a:ln>
          <a:extLst/>
        </p:spPr>
      </p:pic>
    </p:spTree>
    <p:extLst>
      <p:ext uri="{BB962C8B-B14F-4D97-AF65-F5344CB8AC3E}">
        <p14:creationId xmlns:p14="http://schemas.microsoft.com/office/powerpoint/2010/main" val="24657450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85776" y="1326837"/>
            <a:ext cx="11223624" cy="4672397"/>
          </a:xfrm>
        </p:spPr>
        <p:txBody>
          <a:bodyPr/>
          <a:lstStyle/>
          <a:p>
            <a:pPr marL="285750" indent="-285750">
              <a:buFont typeface="Arial" panose="020B0604020202020204" pitchFamily="34" charset="0"/>
              <a:buChar char="•"/>
            </a:pPr>
            <a:r>
              <a:rPr lang="en-US" sz="2000" dirty="0" smtClean="0"/>
              <a:t>Social media has a </a:t>
            </a:r>
            <a:r>
              <a:rPr lang="en-US" sz="2000" dirty="0" smtClean="0">
                <a:solidFill>
                  <a:schemeClr val="accent1"/>
                </a:solidFill>
                <a:latin typeface="Arial Black" panose="020B0A04020102020204" pitchFamily="34" charset="0"/>
              </a:rPr>
              <a:t>reinforcing nature </a:t>
            </a:r>
            <a:r>
              <a:rPr lang="en-US" sz="2000" dirty="0" smtClean="0"/>
              <a:t>– social media use = dopamine released by brain = user keeps going back for more dopamine.</a:t>
            </a:r>
          </a:p>
          <a:p>
            <a:pPr marL="285750" indent="-285750">
              <a:buFont typeface="Arial" panose="020B0604020202020204" pitchFamily="34" charset="0"/>
              <a:buChar char="•"/>
            </a:pPr>
            <a:r>
              <a:rPr lang="en-US" sz="2200" b="1" dirty="0" smtClean="0">
                <a:solidFill>
                  <a:schemeClr val="accent1"/>
                </a:solidFill>
                <a:latin typeface="MV Boli" panose="02000500030200090000" pitchFamily="2" charset="0"/>
                <a:cs typeface="MV Boli" panose="02000500030200090000" pitchFamily="2" charset="0"/>
              </a:rPr>
              <a:t>Algorithms</a:t>
            </a:r>
            <a:r>
              <a:rPr lang="en-US" sz="2000" dirty="0" smtClean="0"/>
              <a:t> gather information </a:t>
            </a:r>
            <a:r>
              <a:rPr lang="en-US" sz="2000" dirty="0"/>
              <a:t>on users' interests and habits and feed them addictive </a:t>
            </a:r>
            <a:r>
              <a:rPr lang="en-US" sz="2000" dirty="0" smtClean="0"/>
              <a:t>content.</a:t>
            </a:r>
          </a:p>
          <a:p>
            <a:pPr marL="285750" indent="-285750">
              <a:buFont typeface="Arial" panose="020B0604020202020204" pitchFamily="34" charset="0"/>
              <a:buChar char="•"/>
            </a:pPr>
            <a:r>
              <a:rPr lang="en-US" sz="2000" dirty="0" smtClean="0"/>
              <a:t>Users </a:t>
            </a:r>
            <a:r>
              <a:rPr lang="en-US" b="1" dirty="0" smtClean="0">
                <a:solidFill>
                  <a:schemeClr val="accent1"/>
                </a:solidFill>
                <a:latin typeface="Lucida Handwriting" panose="03010101010101010101" pitchFamily="66" charset="0"/>
              </a:rPr>
              <a:t>keep connected due to fear </a:t>
            </a:r>
            <a:r>
              <a:rPr lang="en-US" b="1" dirty="0">
                <a:solidFill>
                  <a:schemeClr val="accent1"/>
                </a:solidFill>
                <a:latin typeface="Lucida Handwriting" panose="03010101010101010101" pitchFamily="66" charset="0"/>
              </a:rPr>
              <a:t>of missing </a:t>
            </a:r>
            <a:r>
              <a:rPr lang="en-US" b="1" dirty="0" smtClean="0">
                <a:solidFill>
                  <a:schemeClr val="accent1"/>
                </a:solidFill>
                <a:latin typeface="Lucida Handwriting" panose="03010101010101010101" pitchFamily="66" charset="0"/>
              </a:rPr>
              <a:t>out</a:t>
            </a:r>
            <a:r>
              <a:rPr lang="en-US" dirty="0" smtClean="0"/>
              <a:t>.  </a:t>
            </a:r>
            <a:r>
              <a:rPr lang="en-US" sz="2000" dirty="0" smtClean="0"/>
              <a:t>Predominance </a:t>
            </a:r>
            <a:r>
              <a:rPr lang="en-US" sz="2000" dirty="0"/>
              <a:t>in every day </a:t>
            </a:r>
            <a:r>
              <a:rPr lang="en-US" sz="2000" dirty="0" smtClean="0"/>
              <a:t>life requires constant connection.</a:t>
            </a:r>
          </a:p>
          <a:p>
            <a:pPr marL="285750" indent="-285750">
              <a:buFont typeface="Arial" panose="020B0604020202020204" pitchFamily="34" charset="0"/>
              <a:buChar char="•"/>
            </a:pPr>
            <a:r>
              <a:rPr lang="en-US" sz="2400" b="1" dirty="0" smtClean="0">
                <a:solidFill>
                  <a:schemeClr val="accent1"/>
                </a:solidFill>
                <a:latin typeface="Poor Richard" panose="02080502050505020702" pitchFamily="18" charset="0"/>
              </a:rPr>
              <a:t>Distorted lens on appearances and reality </a:t>
            </a:r>
            <a:r>
              <a:rPr lang="en-US" sz="2000" dirty="0" smtClean="0"/>
              <a:t>draws users in to make comparisons.  Users spend significant time curating their postings.</a:t>
            </a:r>
          </a:p>
          <a:p>
            <a:pPr marL="285750" indent="-285750">
              <a:buFont typeface="Arial" panose="020B0604020202020204" pitchFamily="34" charset="0"/>
              <a:buChar char="•"/>
            </a:pPr>
            <a:r>
              <a:rPr lang="en-US" sz="2400" b="1" dirty="0" smtClean="0">
                <a:solidFill>
                  <a:schemeClr val="accent1"/>
                </a:solidFill>
                <a:latin typeface="Modern No. 20" panose="02070704070505020303" pitchFamily="18" charset="0"/>
              </a:rPr>
              <a:t>Anxiety and depression </a:t>
            </a:r>
            <a:r>
              <a:rPr lang="en-US" sz="2000" dirty="0" smtClean="0"/>
              <a:t>keeps users coming back to feel better.</a:t>
            </a:r>
          </a:p>
          <a:p>
            <a:pPr marL="285750" indent="-285750">
              <a:buFont typeface="Arial" panose="020B0604020202020204" pitchFamily="34" charset="0"/>
              <a:buChar char="•"/>
            </a:pPr>
            <a:r>
              <a:rPr lang="en-US" sz="2000" dirty="0" smtClean="0"/>
              <a:t>The </a:t>
            </a:r>
            <a:r>
              <a:rPr lang="en-US" sz="2000" dirty="0" smtClean="0">
                <a:solidFill>
                  <a:schemeClr val="accent1"/>
                </a:solidFill>
                <a:latin typeface="Stencil" panose="040409050D0802020404" pitchFamily="82" charset="0"/>
              </a:rPr>
              <a:t>unpredictable nature </a:t>
            </a:r>
            <a:r>
              <a:rPr lang="en-US" sz="2000" dirty="0" smtClean="0"/>
              <a:t>of social media (how many likes, who likes the post, if retweeted), keeps the user coming back.  Likes = self worth.</a:t>
            </a:r>
          </a:p>
          <a:p>
            <a:endParaRPr lang="en-US" dirty="0"/>
          </a:p>
        </p:txBody>
      </p:sp>
      <p:sp>
        <p:nvSpPr>
          <p:cNvPr id="4" name="Title 3"/>
          <p:cNvSpPr>
            <a:spLocks noGrp="1"/>
          </p:cNvSpPr>
          <p:nvPr>
            <p:ph type="title"/>
          </p:nvPr>
        </p:nvSpPr>
        <p:spPr/>
        <p:txBody>
          <a:bodyPr/>
          <a:lstStyle/>
          <a:p>
            <a:r>
              <a:rPr lang="en-US" dirty="0"/>
              <a:t>S</a:t>
            </a:r>
            <a:r>
              <a:rPr lang="en-US" dirty="0" smtClean="0"/>
              <a:t>ocial Media – May be Designed to be Addictive</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39774750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smtClean="0"/>
              <a:t>Health </a:t>
            </a:r>
            <a:r>
              <a:rPr lang="en-US" dirty="0" smtClean="0"/>
              <a:t>Impacts…</a:t>
            </a:r>
            <a:endParaRPr lang="en-US" dirty="0"/>
          </a:p>
        </p:txBody>
      </p:sp>
      <p:sp>
        <p:nvSpPr>
          <p:cNvPr id="5" name="Text Placeholder 4"/>
          <p:cNvSpPr>
            <a:spLocks noGrp="1"/>
          </p:cNvSpPr>
          <p:nvPr>
            <p:ph type="body" sz="half" idx="2"/>
          </p:nvPr>
        </p:nvSpPr>
        <p:spPr/>
        <p:txBody>
          <a:bodyPr/>
          <a:lstStyle/>
          <a:p>
            <a:endParaRPr lang="en-US" dirty="0"/>
          </a:p>
        </p:txBody>
      </p:sp>
      <p:sp>
        <p:nvSpPr>
          <p:cNvPr id="6" name="TextBox 5"/>
          <p:cNvSpPr txBox="1"/>
          <p:nvPr/>
        </p:nvSpPr>
        <p:spPr>
          <a:xfrm>
            <a:off x="1238318" y="4956858"/>
            <a:ext cx="2250315" cy="861774"/>
          </a:xfrm>
          <a:prstGeom prst="rect">
            <a:avLst/>
          </a:prstGeom>
          <a:noFill/>
        </p:spPr>
        <p:txBody>
          <a:bodyPr wrap="square" lIns="0" tIns="0" rIns="0" bIns="0" rtlCol="0">
            <a:spAutoFit/>
          </a:bodyPr>
          <a:lstStyle/>
          <a:p>
            <a:pPr algn="ctr"/>
            <a:r>
              <a:rPr lang="en-US" sz="2800" dirty="0" smtClean="0">
                <a:solidFill>
                  <a:schemeClr val="tx2">
                    <a:lumMod val="75000"/>
                  </a:schemeClr>
                </a:solidFill>
                <a:latin typeface="Cooper Black" panose="0208090404030B020404" pitchFamily="18" charset="0"/>
                <a:ea typeface="Tahoma" panose="020B0604030504040204" pitchFamily="34" charset="0"/>
                <a:cs typeface="Tahoma" panose="020B0604030504040204" pitchFamily="34" charset="0"/>
              </a:rPr>
              <a:t>Back &amp; Neck Strain</a:t>
            </a:r>
            <a:endParaRPr lang="en-US" sz="2800" dirty="0">
              <a:solidFill>
                <a:schemeClr val="tx2">
                  <a:lumMod val="75000"/>
                </a:schemeClr>
              </a:solidFill>
              <a:latin typeface="Cooper Black" panose="0208090404030B020404" pitchFamily="18" charset="0"/>
              <a:ea typeface="Tahoma" panose="020B0604030504040204" pitchFamily="34" charset="0"/>
              <a:cs typeface="Tahoma" panose="020B0604030504040204" pitchFamily="34" charset="0"/>
            </a:endParaRPr>
          </a:p>
        </p:txBody>
      </p:sp>
      <p:sp>
        <p:nvSpPr>
          <p:cNvPr id="7" name="TextBox 6"/>
          <p:cNvSpPr txBox="1"/>
          <p:nvPr/>
        </p:nvSpPr>
        <p:spPr>
          <a:xfrm>
            <a:off x="1570405" y="2308995"/>
            <a:ext cx="4403012" cy="984885"/>
          </a:xfrm>
          <a:prstGeom prst="rect">
            <a:avLst/>
          </a:prstGeom>
          <a:noFill/>
        </p:spPr>
        <p:txBody>
          <a:bodyPr wrap="square" lIns="0" tIns="0" rIns="0" bIns="0" rtlCol="0">
            <a:spAutoFit/>
          </a:bodyPr>
          <a:lstStyle/>
          <a:p>
            <a:pPr algn="ctr"/>
            <a:r>
              <a:rPr lang="en-US" sz="3200" dirty="0" smtClean="0">
                <a:solidFill>
                  <a:schemeClr val="accent4"/>
                </a:solidFill>
                <a:latin typeface="Magneto" panose="04030805050802020D02" pitchFamily="82" charset="0"/>
              </a:rPr>
              <a:t>Sleep Deprivation &amp; Disturbances</a:t>
            </a:r>
          </a:p>
        </p:txBody>
      </p:sp>
      <p:sp>
        <p:nvSpPr>
          <p:cNvPr id="8" name="TextBox 7"/>
          <p:cNvSpPr txBox="1"/>
          <p:nvPr/>
        </p:nvSpPr>
        <p:spPr>
          <a:xfrm>
            <a:off x="5579278" y="1114015"/>
            <a:ext cx="2090316" cy="615553"/>
          </a:xfrm>
          <a:prstGeom prst="rect">
            <a:avLst/>
          </a:prstGeom>
          <a:noFill/>
        </p:spPr>
        <p:txBody>
          <a:bodyPr wrap="none" lIns="0" tIns="0" rIns="0" bIns="0" rtlCol="0">
            <a:spAutoFit/>
          </a:bodyPr>
          <a:lstStyle/>
          <a:p>
            <a:pPr algn="l"/>
            <a:r>
              <a:rPr lang="en-US" sz="4000" dirty="0" smtClean="0">
                <a:solidFill>
                  <a:schemeClr val="accent1"/>
                </a:solidFill>
                <a:latin typeface="Stencil" panose="040409050D0802020404" pitchFamily="82" charset="0"/>
              </a:rPr>
              <a:t>Anxiety</a:t>
            </a:r>
            <a:endParaRPr lang="en-US" sz="4000" dirty="0">
              <a:solidFill>
                <a:schemeClr val="accent1"/>
              </a:solidFill>
              <a:latin typeface="Stencil" panose="040409050D0802020404" pitchFamily="82" charset="0"/>
            </a:endParaRPr>
          </a:p>
        </p:txBody>
      </p:sp>
      <p:sp>
        <p:nvSpPr>
          <p:cNvPr id="9" name="TextBox 8"/>
          <p:cNvSpPr txBox="1"/>
          <p:nvPr/>
        </p:nvSpPr>
        <p:spPr>
          <a:xfrm>
            <a:off x="988706" y="1358038"/>
            <a:ext cx="2415726" cy="615553"/>
          </a:xfrm>
          <a:prstGeom prst="rect">
            <a:avLst/>
          </a:prstGeom>
          <a:noFill/>
        </p:spPr>
        <p:txBody>
          <a:bodyPr wrap="none" lIns="0" tIns="0" rIns="0" bIns="0" rtlCol="0">
            <a:spAutoFit/>
          </a:bodyPr>
          <a:lstStyle/>
          <a:p>
            <a:pPr algn="l"/>
            <a:r>
              <a:rPr lang="en-US" sz="4000" dirty="0" smtClean="0">
                <a:solidFill>
                  <a:schemeClr val="accent1">
                    <a:lumMod val="60000"/>
                    <a:lumOff val="40000"/>
                  </a:schemeClr>
                </a:solidFill>
                <a:latin typeface="Grifo S" panose="02050803090505060204" pitchFamily="18" charset="0"/>
              </a:rPr>
              <a:t>Depression</a:t>
            </a:r>
            <a:endParaRPr lang="en-US" sz="4000" dirty="0">
              <a:solidFill>
                <a:schemeClr val="accent1">
                  <a:lumMod val="60000"/>
                  <a:lumOff val="40000"/>
                </a:schemeClr>
              </a:solidFill>
              <a:latin typeface="Grifo S" panose="02050803090505060204" pitchFamily="18" charset="0"/>
            </a:endParaRPr>
          </a:p>
        </p:txBody>
      </p:sp>
      <p:sp>
        <p:nvSpPr>
          <p:cNvPr id="10" name="TextBox 9"/>
          <p:cNvSpPr txBox="1"/>
          <p:nvPr/>
        </p:nvSpPr>
        <p:spPr>
          <a:xfrm>
            <a:off x="6210301" y="3275880"/>
            <a:ext cx="2608086" cy="553998"/>
          </a:xfrm>
          <a:prstGeom prst="rect">
            <a:avLst/>
          </a:prstGeom>
          <a:noFill/>
        </p:spPr>
        <p:txBody>
          <a:bodyPr wrap="none" lIns="0" tIns="0" rIns="0" bIns="0" rtlCol="0">
            <a:spAutoFit/>
          </a:bodyPr>
          <a:lstStyle/>
          <a:p>
            <a:pPr algn="l"/>
            <a:r>
              <a:rPr lang="en-US" sz="3600" b="1" dirty="0" smtClean="0">
                <a:solidFill>
                  <a:schemeClr val="accent2"/>
                </a:solidFill>
                <a:latin typeface="Mute Semibold" panose="00000800000000000000" pitchFamily="50" charset="0"/>
              </a:rPr>
              <a:t>Weight Gain</a:t>
            </a:r>
            <a:endParaRPr lang="en-US" sz="3600" b="1" dirty="0">
              <a:solidFill>
                <a:schemeClr val="accent2"/>
              </a:solidFill>
              <a:latin typeface="Mute Semibold" panose="00000800000000000000" pitchFamily="50" charset="0"/>
            </a:endParaRPr>
          </a:p>
        </p:txBody>
      </p:sp>
      <p:sp>
        <p:nvSpPr>
          <p:cNvPr id="11" name="TextBox 10"/>
          <p:cNvSpPr txBox="1"/>
          <p:nvPr/>
        </p:nvSpPr>
        <p:spPr>
          <a:xfrm>
            <a:off x="719377" y="3654246"/>
            <a:ext cx="4117779" cy="861774"/>
          </a:xfrm>
          <a:prstGeom prst="rect">
            <a:avLst/>
          </a:prstGeom>
          <a:noFill/>
        </p:spPr>
        <p:txBody>
          <a:bodyPr wrap="square" lIns="0" tIns="0" rIns="0" bIns="0" rtlCol="0">
            <a:spAutoFit/>
          </a:bodyPr>
          <a:lstStyle/>
          <a:p>
            <a:pPr algn="ctr"/>
            <a:r>
              <a:rPr lang="en-US" sz="2800" b="1" dirty="0" smtClean="0">
                <a:solidFill>
                  <a:schemeClr val="accent1"/>
                </a:solidFill>
                <a:latin typeface="MS Gothic" panose="020B0609070205080204" pitchFamily="49" charset="-128"/>
                <a:ea typeface="MS Gothic" panose="020B0609070205080204" pitchFamily="49" charset="-128"/>
              </a:rPr>
              <a:t>Self Control Challenges/Addiction</a:t>
            </a:r>
            <a:endParaRPr lang="en-US" sz="2800" b="1" dirty="0">
              <a:solidFill>
                <a:schemeClr val="accent1"/>
              </a:solidFill>
            </a:endParaRPr>
          </a:p>
        </p:txBody>
      </p:sp>
      <p:sp>
        <p:nvSpPr>
          <p:cNvPr id="12" name="TextBox 11"/>
          <p:cNvSpPr txBox="1"/>
          <p:nvPr/>
        </p:nvSpPr>
        <p:spPr>
          <a:xfrm>
            <a:off x="9441758" y="4159640"/>
            <a:ext cx="2098331" cy="492443"/>
          </a:xfrm>
          <a:prstGeom prst="rect">
            <a:avLst/>
          </a:prstGeom>
          <a:noFill/>
        </p:spPr>
        <p:txBody>
          <a:bodyPr wrap="none" lIns="0" tIns="0" rIns="0" bIns="0" rtlCol="0">
            <a:spAutoFit/>
          </a:bodyPr>
          <a:lstStyle/>
          <a:p>
            <a:pPr algn="l"/>
            <a:r>
              <a:rPr lang="en-US" sz="3200" b="1" dirty="0" smtClean="0">
                <a:solidFill>
                  <a:schemeClr val="accent4"/>
                </a:solidFill>
                <a:latin typeface="Papyrus" panose="03070502060502030205" pitchFamily="66" charset="0"/>
              </a:rPr>
              <a:t>Eye Strain</a:t>
            </a:r>
            <a:endParaRPr lang="en-US" sz="3200" b="1" dirty="0">
              <a:solidFill>
                <a:schemeClr val="accent4"/>
              </a:solidFill>
              <a:latin typeface="Papyrus" panose="03070502060502030205" pitchFamily="66" charset="0"/>
            </a:endParaRPr>
          </a:p>
        </p:txBody>
      </p:sp>
      <p:sp>
        <p:nvSpPr>
          <p:cNvPr id="15" name="TextBox 14"/>
          <p:cNvSpPr txBox="1"/>
          <p:nvPr/>
        </p:nvSpPr>
        <p:spPr>
          <a:xfrm>
            <a:off x="6013746" y="4971662"/>
            <a:ext cx="4088035" cy="492443"/>
          </a:xfrm>
          <a:prstGeom prst="rect">
            <a:avLst/>
          </a:prstGeom>
          <a:noFill/>
        </p:spPr>
        <p:txBody>
          <a:bodyPr wrap="square" lIns="0" tIns="0" rIns="0" bIns="0" rtlCol="0">
            <a:spAutoFit/>
          </a:bodyPr>
          <a:lstStyle/>
          <a:p>
            <a:pPr algn="l"/>
            <a:r>
              <a:rPr lang="en-US" sz="3200" dirty="0" smtClean="0">
                <a:solidFill>
                  <a:schemeClr val="tx2"/>
                </a:solidFill>
                <a:latin typeface="Lucida Handwriting" panose="03010101010101010101" pitchFamily="66" charset="0"/>
              </a:rPr>
              <a:t>Eating Disorders</a:t>
            </a:r>
            <a:endParaRPr lang="en-US" sz="3200" dirty="0">
              <a:solidFill>
                <a:schemeClr val="tx2"/>
              </a:solidFill>
              <a:latin typeface="Lucida Handwriting" panose="03010101010101010101" pitchFamily="66" charset="0"/>
            </a:endParaRPr>
          </a:p>
        </p:txBody>
      </p:sp>
      <p:sp>
        <p:nvSpPr>
          <p:cNvPr id="3" name="TextBox 2"/>
          <p:cNvSpPr txBox="1"/>
          <p:nvPr/>
        </p:nvSpPr>
        <p:spPr>
          <a:xfrm>
            <a:off x="7084665" y="2228775"/>
            <a:ext cx="4535281" cy="430887"/>
          </a:xfrm>
          <a:prstGeom prst="rect">
            <a:avLst/>
          </a:prstGeom>
          <a:noFill/>
        </p:spPr>
        <p:txBody>
          <a:bodyPr wrap="none" lIns="0" tIns="0" rIns="0" bIns="0" rtlCol="0">
            <a:spAutoFit/>
          </a:bodyPr>
          <a:lstStyle/>
          <a:p>
            <a:pPr algn="l"/>
            <a:r>
              <a:rPr lang="en-US" sz="2800" dirty="0" smtClean="0">
                <a:solidFill>
                  <a:schemeClr val="tx2">
                    <a:lumMod val="75000"/>
                  </a:schemeClr>
                </a:solidFill>
                <a:latin typeface="Cooper Black" panose="0208090404030B020404" pitchFamily="18" charset="0"/>
              </a:rPr>
              <a:t>Difficulty Concentrating</a:t>
            </a:r>
            <a:endParaRPr lang="en-US" sz="2800" dirty="0">
              <a:solidFill>
                <a:schemeClr val="tx2">
                  <a:lumMod val="75000"/>
                </a:schemeClr>
              </a:solidFill>
              <a:latin typeface="Cooper Black" panose="0208090404030B020404" pitchFamily="18" charset="0"/>
            </a:endParaRPr>
          </a:p>
        </p:txBody>
      </p:sp>
    </p:spTree>
    <p:extLst>
      <p:ext uri="{BB962C8B-B14F-4D97-AF65-F5344CB8AC3E}">
        <p14:creationId xmlns:p14="http://schemas.microsoft.com/office/powerpoint/2010/main" val="3967365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5"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724315" y="1302105"/>
            <a:ext cx="6292711" cy="4999303"/>
          </a:xfrm>
        </p:spPr>
        <p:txBody>
          <a:bodyPr/>
          <a:lstStyle/>
          <a:p>
            <a:pPr marL="285750" indent="-285750">
              <a:buFont typeface="Wingdings" panose="05000000000000000000" pitchFamily="2" charset="2"/>
              <a:buChar char="q"/>
            </a:pPr>
            <a:r>
              <a:rPr lang="en-US" dirty="0" smtClean="0"/>
              <a:t>Compulsion to check social media</a:t>
            </a:r>
          </a:p>
          <a:p>
            <a:pPr marL="285750" indent="-285750">
              <a:buFont typeface="Wingdings" panose="05000000000000000000" pitchFamily="2" charset="2"/>
              <a:buChar char="q"/>
            </a:pPr>
            <a:r>
              <a:rPr lang="en-US" dirty="0"/>
              <a:t>S</a:t>
            </a:r>
            <a:r>
              <a:rPr lang="en-US" dirty="0" smtClean="0"/>
              <a:t>pending long periods of time on social media</a:t>
            </a:r>
          </a:p>
          <a:p>
            <a:pPr marL="285750" indent="-285750">
              <a:buFont typeface="Wingdings" panose="05000000000000000000" pitchFamily="2" charset="2"/>
              <a:buChar char="q"/>
            </a:pPr>
            <a:r>
              <a:rPr lang="en-US" dirty="0" smtClean="0"/>
              <a:t>Difficulty regulating social media use</a:t>
            </a:r>
          </a:p>
          <a:p>
            <a:pPr marL="285750" indent="-285750">
              <a:buFont typeface="Wingdings" panose="05000000000000000000" pitchFamily="2" charset="2"/>
              <a:buChar char="q"/>
            </a:pPr>
            <a:r>
              <a:rPr lang="en-US" dirty="0"/>
              <a:t>S</a:t>
            </a:r>
            <a:r>
              <a:rPr lang="en-US" dirty="0" smtClean="0"/>
              <a:t>pending less time doing offline activities</a:t>
            </a:r>
          </a:p>
          <a:p>
            <a:pPr marL="285750" indent="-285750">
              <a:buFont typeface="Wingdings" panose="05000000000000000000" pitchFamily="2" charset="2"/>
              <a:buChar char="q"/>
            </a:pPr>
            <a:r>
              <a:rPr lang="en-US" dirty="0" smtClean="0"/>
              <a:t>Become restless and troubled when not using social media </a:t>
            </a:r>
          </a:p>
          <a:p>
            <a:pPr marL="285750" indent="-285750">
              <a:buFont typeface="Wingdings" panose="05000000000000000000" pitchFamily="2" charset="2"/>
              <a:buChar char="q"/>
            </a:pPr>
            <a:r>
              <a:rPr lang="en-US" dirty="0" smtClean="0"/>
              <a:t>Use of social media negatively impacting studies or work</a:t>
            </a:r>
          </a:p>
          <a:p>
            <a:pPr marL="285750" indent="-285750">
              <a:buFont typeface="Wingdings" panose="05000000000000000000" pitchFamily="2" charset="2"/>
              <a:buChar char="q"/>
            </a:pPr>
            <a:r>
              <a:rPr lang="en-US" dirty="0"/>
              <a:t>Irritability, sadness or anxiety</a:t>
            </a:r>
          </a:p>
          <a:p>
            <a:pPr marL="285750" indent="-285750">
              <a:buFont typeface="Wingdings" panose="05000000000000000000" pitchFamily="2" charset="2"/>
              <a:buChar char="q"/>
            </a:pPr>
            <a:r>
              <a:rPr lang="en-US" dirty="0" smtClean="0"/>
              <a:t>Weight changes</a:t>
            </a:r>
          </a:p>
          <a:p>
            <a:pPr marL="285750" indent="-285750">
              <a:buFont typeface="Wingdings" panose="05000000000000000000" pitchFamily="2" charset="2"/>
              <a:buChar char="q"/>
            </a:pPr>
            <a:r>
              <a:rPr lang="en-US" dirty="0"/>
              <a:t>Sleep changes – </a:t>
            </a:r>
            <a:r>
              <a:rPr lang="en-US" dirty="0" smtClean="0"/>
              <a:t>less</a:t>
            </a:r>
            <a:r>
              <a:rPr lang="en-US" dirty="0"/>
              <a:t>, more or during </a:t>
            </a:r>
            <a:r>
              <a:rPr lang="en-US" dirty="0" smtClean="0"/>
              <a:t>daytime</a:t>
            </a:r>
          </a:p>
          <a:p>
            <a:pPr marL="285750" indent="-285750">
              <a:buFont typeface="Wingdings" panose="05000000000000000000" pitchFamily="2" charset="2"/>
              <a:buChar char="q"/>
            </a:pPr>
            <a:r>
              <a:rPr lang="en-US" dirty="0"/>
              <a:t>C</a:t>
            </a:r>
            <a:r>
              <a:rPr lang="en-US" dirty="0" smtClean="0"/>
              <a:t>onflict as a result of social media use</a:t>
            </a:r>
          </a:p>
          <a:p>
            <a:endParaRPr lang="en-US" sz="1000" dirty="0" smtClean="0"/>
          </a:p>
          <a:p>
            <a:endParaRPr lang="en-US" dirty="0" smtClean="0"/>
          </a:p>
          <a:p>
            <a:endParaRPr lang="en-US" dirty="0"/>
          </a:p>
        </p:txBody>
      </p:sp>
      <p:sp>
        <p:nvSpPr>
          <p:cNvPr id="4" name="Title 3"/>
          <p:cNvSpPr>
            <a:spLocks noGrp="1"/>
          </p:cNvSpPr>
          <p:nvPr>
            <p:ph type="title"/>
          </p:nvPr>
        </p:nvSpPr>
        <p:spPr/>
        <p:txBody>
          <a:bodyPr/>
          <a:lstStyle/>
          <a:p>
            <a:r>
              <a:rPr lang="en-US" dirty="0" smtClean="0"/>
              <a:t>Warning Signs</a:t>
            </a:r>
            <a:endParaRPr lang="en-US" dirty="0"/>
          </a:p>
        </p:txBody>
      </p:sp>
      <p:sp>
        <p:nvSpPr>
          <p:cNvPr id="5" name="Text Placeholder 4"/>
          <p:cNvSpPr>
            <a:spLocks noGrp="1"/>
          </p:cNvSpPr>
          <p:nvPr>
            <p:ph type="body" sz="half" idx="2"/>
          </p:nvPr>
        </p:nvSpPr>
        <p:spPr/>
        <p:txBody>
          <a:bodyPr/>
          <a:lstStyle/>
          <a:p>
            <a:endParaRPr lang="en-US" dirty="0"/>
          </a:p>
        </p:txBody>
      </p:sp>
      <p:sp>
        <p:nvSpPr>
          <p:cNvPr id="8" name="TextBox 7"/>
          <p:cNvSpPr txBox="1"/>
          <p:nvPr/>
        </p:nvSpPr>
        <p:spPr>
          <a:xfrm>
            <a:off x="7552084" y="3956655"/>
            <a:ext cx="4639916" cy="2031325"/>
          </a:xfrm>
          <a:prstGeom prst="rect">
            <a:avLst/>
          </a:prstGeom>
          <a:noFill/>
        </p:spPr>
        <p:txBody>
          <a:bodyPr wrap="square" lIns="0" tIns="0" rIns="0" bIns="0" rtlCol="0">
            <a:spAutoFit/>
          </a:bodyPr>
          <a:lstStyle/>
          <a:p>
            <a:pPr algn="l"/>
            <a:r>
              <a:rPr lang="en-US" sz="4400" b="1" dirty="0" smtClean="0">
                <a:solidFill>
                  <a:schemeClr val="tx2"/>
                </a:solidFill>
                <a:latin typeface="Bradley Hand ITC" panose="03070402050302030203" pitchFamily="66" charset="0"/>
              </a:rPr>
              <a:t>Sounds a lot like mental health warning signs…</a:t>
            </a:r>
            <a:endParaRPr lang="en-US" sz="4400" b="1" dirty="0">
              <a:solidFill>
                <a:schemeClr val="tx2"/>
              </a:solidFill>
              <a:latin typeface="Bradley Hand ITC" panose="03070402050302030203" pitchFamily="66" charset="0"/>
            </a:endParaRPr>
          </a:p>
        </p:txBody>
      </p:sp>
    </p:spTree>
    <p:extLst>
      <p:ext uri="{BB962C8B-B14F-4D97-AF65-F5344CB8AC3E}">
        <p14:creationId xmlns:p14="http://schemas.microsoft.com/office/powerpoint/2010/main" val="29632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485776" y="1302106"/>
            <a:ext cx="11223624" cy="2323963"/>
          </a:xfrm>
        </p:spPr>
        <p:txBody>
          <a:bodyPr/>
          <a:lstStyle/>
          <a:p>
            <a:r>
              <a:rPr lang="en-US" b="1" i="1" dirty="0" smtClean="0"/>
              <a:t>United Educator (UE) Claim Example</a:t>
            </a:r>
            <a:r>
              <a:rPr lang="en-US" b="1" i="1" dirty="0"/>
              <a:t>: </a:t>
            </a:r>
            <a:r>
              <a:rPr lang="en-US" i="1" dirty="0" smtClean="0"/>
              <a:t>A tenured </a:t>
            </a:r>
            <a:r>
              <a:rPr lang="en-US" i="1" dirty="0"/>
              <a:t>professor posted criticism of Muslims on Facebook. Students and faculty members filed internal complaints asserting that the post and the professor’s in-class speech constituted harassment. </a:t>
            </a:r>
            <a:r>
              <a:rPr lang="en-US" i="1" dirty="0" smtClean="0"/>
              <a:t> Additionally</a:t>
            </a:r>
            <a:r>
              <a:rPr lang="en-US" i="1" dirty="0"/>
              <a:t>, two faculty members who challenged the professor about his comments filed internal complaints alleging retaliation by the professor. </a:t>
            </a:r>
            <a:r>
              <a:rPr lang="en-US" i="1" dirty="0" smtClean="0"/>
              <a:t> The </a:t>
            </a:r>
            <a:r>
              <a:rPr lang="en-US" i="1" dirty="0"/>
              <a:t>university’s investigation determined the professor’s post did not violate its anti-harassment policy, but that he did retaliate against the two faculty members. </a:t>
            </a:r>
            <a:r>
              <a:rPr lang="en-US" i="1" dirty="0" smtClean="0"/>
              <a:t> This </a:t>
            </a:r>
            <a:r>
              <a:rPr lang="en-US" i="1" dirty="0"/>
              <a:t>finding prompted the professor to sue the university, alleging, among other things, violations of free speech, freedom of religion, and the right to political association.</a:t>
            </a:r>
            <a:endParaRPr lang="en-US" dirty="0"/>
          </a:p>
        </p:txBody>
      </p:sp>
      <p:sp>
        <p:nvSpPr>
          <p:cNvPr id="4" name="Title 3"/>
          <p:cNvSpPr>
            <a:spLocks noGrp="1"/>
          </p:cNvSpPr>
          <p:nvPr>
            <p:ph type="title"/>
          </p:nvPr>
        </p:nvSpPr>
        <p:spPr/>
        <p:txBody>
          <a:bodyPr/>
          <a:lstStyle/>
          <a:p>
            <a:r>
              <a:rPr lang="en-US" dirty="0" smtClean="0"/>
              <a:t>Social Media Use - Faculty &amp; Staff</a:t>
            </a:r>
            <a:endParaRPr lang="en-US" dirty="0"/>
          </a:p>
        </p:txBody>
      </p:sp>
      <p:sp>
        <p:nvSpPr>
          <p:cNvPr id="5" name="Text Placeholder 4"/>
          <p:cNvSpPr>
            <a:spLocks noGrp="1"/>
          </p:cNvSpPr>
          <p:nvPr>
            <p:ph type="body" sz="half" idx="2"/>
          </p:nvPr>
        </p:nvSpPr>
        <p:spPr/>
        <p:txBody>
          <a:bodyPr/>
          <a:lstStyle/>
          <a:p>
            <a:endParaRPr lang="en-US" dirty="0"/>
          </a:p>
        </p:txBody>
      </p:sp>
      <p:sp>
        <p:nvSpPr>
          <p:cNvPr id="6" name="TextBox 5"/>
          <p:cNvSpPr txBox="1"/>
          <p:nvPr/>
        </p:nvSpPr>
        <p:spPr>
          <a:xfrm>
            <a:off x="485776" y="3440053"/>
            <a:ext cx="11052312" cy="2492990"/>
          </a:xfrm>
          <a:prstGeom prst="rect">
            <a:avLst/>
          </a:prstGeom>
          <a:noFill/>
        </p:spPr>
        <p:txBody>
          <a:bodyPr wrap="square" lIns="0" tIns="0" rIns="0" bIns="0" rtlCol="0">
            <a:spAutoFit/>
          </a:bodyPr>
          <a:lstStyle/>
          <a:p>
            <a:pPr algn="l"/>
            <a:r>
              <a:rPr lang="en-US" dirty="0" smtClean="0"/>
              <a:t>UE Recommendations</a:t>
            </a:r>
          </a:p>
          <a:p>
            <a:pPr marL="285750" indent="-285750" algn="l">
              <a:buFont typeface="Arial" panose="020B0604020202020204" pitchFamily="34" charset="0"/>
              <a:buChar char="•"/>
            </a:pPr>
            <a:r>
              <a:rPr lang="en-US" dirty="0" smtClean="0"/>
              <a:t>Faculty Handbook – outline the university’s values and communicate them regularly.  Include social media in codes of conduct</a:t>
            </a:r>
          </a:p>
          <a:p>
            <a:pPr marL="285750" indent="-285750" algn="l">
              <a:buFont typeface="Arial" panose="020B0604020202020204" pitchFamily="34" charset="0"/>
              <a:buChar char="•"/>
            </a:pPr>
            <a:r>
              <a:rPr lang="en-US" dirty="0" smtClean="0"/>
              <a:t>Educate on Academic Freedom and Free Speech – ensure faculty, staff and students understand limitations and rights</a:t>
            </a:r>
          </a:p>
          <a:p>
            <a:pPr marL="285750" indent="-285750" algn="l">
              <a:buFont typeface="Arial" panose="020B0604020202020204" pitchFamily="34" charset="0"/>
              <a:buChar char="•"/>
            </a:pPr>
            <a:r>
              <a:rPr lang="en-US" dirty="0" smtClean="0"/>
              <a:t>Social Media Use Guidelines – create and implement guidelines to encourage responsible and respectful use without censorship</a:t>
            </a:r>
          </a:p>
          <a:p>
            <a:pPr marL="285750" indent="-285750" algn="l">
              <a:buFont typeface="Arial" panose="020B0604020202020204" pitchFamily="34" charset="0"/>
              <a:buChar char="•"/>
            </a:pPr>
            <a:r>
              <a:rPr lang="en-US" dirty="0" smtClean="0"/>
              <a:t>Assess Potentially Threatening Speech</a:t>
            </a:r>
          </a:p>
          <a:p>
            <a:pPr algn="l"/>
            <a:endParaRPr lang="en-US" dirty="0" smtClean="0"/>
          </a:p>
        </p:txBody>
      </p:sp>
      <p:sp>
        <p:nvSpPr>
          <p:cNvPr id="7" name="TextBox 6"/>
          <p:cNvSpPr txBox="1"/>
          <p:nvPr/>
        </p:nvSpPr>
        <p:spPr>
          <a:xfrm>
            <a:off x="705678" y="5952921"/>
            <a:ext cx="5600892" cy="153888"/>
          </a:xfrm>
          <a:prstGeom prst="rect">
            <a:avLst/>
          </a:prstGeom>
          <a:noFill/>
        </p:spPr>
        <p:txBody>
          <a:bodyPr wrap="none" lIns="0" tIns="0" rIns="0" bIns="0" rtlCol="0">
            <a:spAutoFit/>
          </a:bodyPr>
          <a:lstStyle/>
          <a:p>
            <a:r>
              <a:rPr lang="en-US" sz="1000" dirty="0" smtClean="0"/>
              <a:t>Source - </a:t>
            </a:r>
            <a:r>
              <a:rPr lang="en-US" sz="1000" dirty="0" smtClean="0">
                <a:hlinkClick r:id="rId2"/>
              </a:rPr>
              <a:t>Manage </a:t>
            </a:r>
            <a:r>
              <a:rPr lang="en-US" sz="1000" dirty="0">
                <a:hlinkClick r:id="rId2"/>
              </a:rPr>
              <a:t>Risks Associated With Faculty Use of Social Media | United Educators (ue.org)</a:t>
            </a:r>
            <a:endParaRPr lang="en-US" sz="1000" dirty="0"/>
          </a:p>
        </p:txBody>
      </p:sp>
    </p:spTree>
    <p:extLst>
      <p:ext uri="{BB962C8B-B14F-4D97-AF65-F5344CB8AC3E}">
        <p14:creationId xmlns:p14="http://schemas.microsoft.com/office/powerpoint/2010/main" val="3707934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979633" y="2283332"/>
            <a:ext cx="4688904" cy="2640752"/>
          </a:xfrm>
          <a:prstGeom prst="rect">
            <a:avLst/>
          </a:prstGeom>
          <a:solidFill>
            <a:srgbClr val="002C77"/>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
        <p:nvSpPr>
          <p:cNvPr id="4" name="Title 3"/>
          <p:cNvSpPr>
            <a:spLocks noGrp="1"/>
          </p:cNvSpPr>
          <p:nvPr>
            <p:ph type="title"/>
          </p:nvPr>
        </p:nvSpPr>
        <p:spPr/>
        <p:txBody>
          <a:bodyPr/>
          <a:lstStyle/>
          <a:p>
            <a:r>
              <a:rPr lang="en-US" dirty="0" smtClean="0"/>
              <a:t>Safety &amp; Security Concerns</a:t>
            </a:r>
            <a:endParaRPr lang="en-US" dirty="0"/>
          </a:p>
        </p:txBody>
      </p:sp>
      <p:sp>
        <p:nvSpPr>
          <p:cNvPr id="2" name="TextBox 1"/>
          <p:cNvSpPr txBox="1"/>
          <p:nvPr/>
        </p:nvSpPr>
        <p:spPr>
          <a:xfrm>
            <a:off x="7257814" y="2615025"/>
            <a:ext cx="4132542" cy="1923604"/>
          </a:xfrm>
          <a:prstGeom prst="rect">
            <a:avLst/>
          </a:prstGeom>
          <a:noFill/>
        </p:spPr>
        <p:txBody>
          <a:bodyPr wrap="none" lIns="0" tIns="0" rIns="0" bIns="0" rtlCol="0">
            <a:spAutoFit/>
          </a:bodyPr>
          <a:lstStyle/>
          <a:p>
            <a:pPr marL="285750" indent="-285750" algn="l">
              <a:buFont typeface="Arial" panose="020B0604020202020204" pitchFamily="34" charset="0"/>
              <a:buChar char="•"/>
            </a:pPr>
            <a:r>
              <a:rPr lang="en-US" sz="2500" dirty="0" smtClean="0">
                <a:solidFill>
                  <a:schemeClr val="bg1"/>
                </a:solidFill>
              </a:rPr>
              <a:t>Minimize Social Media Use</a:t>
            </a:r>
          </a:p>
          <a:p>
            <a:pPr marL="285750" indent="-285750" algn="l">
              <a:buFont typeface="Arial" panose="020B0604020202020204" pitchFamily="34" charset="0"/>
              <a:buChar char="•"/>
            </a:pPr>
            <a:r>
              <a:rPr lang="en-US" sz="2500" dirty="0" smtClean="0">
                <a:solidFill>
                  <a:schemeClr val="bg1"/>
                </a:solidFill>
              </a:rPr>
              <a:t>Don’t </a:t>
            </a:r>
            <a:r>
              <a:rPr lang="en-US" sz="2500" dirty="0">
                <a:solidFill>
                  <a:schemeClr val="bg1"/>
                </a:solidFill>
              </a:rPr>
              <a:t>O</a:t>
            </a:r>
            <a:r>
              <a:rPr lang="en-US" sz="2500" dirty="0" smtClean="0">
                <a:solidFill>
                  <a:schemeClr val="bg1"/>
                </a:solidFill>
              </a:rPr>
              <a:t>vershare</a:t>
            </a:r>
          </a:p>
          <a:p>
            <a:pPr marL="285750" indent="-285750" algn="l">
              <a:buFont typeface="Arial" panose="020B0604020202020204" pitchFamily="34" charset="0"/>
              <a:buChar char="•"/>
            </a:pPr>
            <a:r>
              <a:rPr lang="en-US" sz="2500" dirty="0" smtClean="0">
                <a:solidFill>
                  <a:schemeClr val="bg1"/>
                </a:solidFill>
              </a:rPr>
              <a:t>Maximize Privacy </a:t>
            </a:r>
            <a:r>
              <a:rPr lang="en-US" sz="2500" dirty="0">
                <a:solidFill>
                  <a:schemeClr val="bg1"/>
                </a:solidFill>
              </a:rPr>
              <a:t>S</a:t>
            </a:r>
            <a:r>
              <a:rPr lang="en-US" sz="2500" dirty="0" smtClean="0">
                <a:solidFill>
                  <a:schemeClr val="bg1"/>
                </a:solidFill>
              </a:rPr>
              <a:t>ettings</a:t>
            </a:r>
          </a:p>
          <a:p>
            <a:pPr marL="285750" indent="-285750" algn="l">
              <a:buFont typeface="Arial" panose="020B0604020202020204" pitchFamily="34" charset="0"/>
              <a:buChar char="•"/>
            </a:pPr>
            <a:r>
              <a:rPr lang="en-US" sz="2500" dirty="0" smtClean="0">
                <a:solidFill>
                  <a:schemeClr val="bg1"/>
                </a:solidFill>
              </a:rPr>
              <a:t>Disable Geotagging</a:t>
            </a:r>
          </a:p>
          <a:p>
            <a:pPr marL="285750" indent="-285750" algn="l">
              <a:buFont typeface="Arial" panose="020B0604020202020204" pitchFamily="34" charset="0"/>
              <a:buChar char="•"/>
            </a:pPr>
            <a:r>
              <a:rPr lang="en-US" sz="2500" dirty="0" smtClean="0">
                <a:solidFill>
                  <a:schemeClr val="bg1"/>
                </a:solidFill>
              </a:rPr>
              <a:t>Lockdown Security</a:t>
            </a:r>
            <a:endParaRPr lang="en-US" sz="2500" dirty="0">
              <a:solidFill>
                <a:schemeClr val="bg1"/>
              </a:solidFill>
            </a:endParaRPr>
          </a:p>
        </p:txBody>
      </p:sp>
      <p:graphicFrame>
        <p:nvGraphicFramePr>
          <p:cNvPr id="3" name="Diagram 2"/>
          <p:cNvGraphicFramePr/>
          <p:nvPr>
            <p:extLst>
              <p:ext uri="{D42A27DB-BD31-4B8C-83A1-F6EECF244321}">
                <p14:modId xmlns:p14="http://schemas.microsoft.com/office/powerpoint/2010/main" val="924387368"/>
              </p:ext>
            </p:extLst>
          </p:nvPr>
        </p:nvGraphicFramePr>
        <p:xfrm>
          <a:off x="-549961" y="1320800"/>
          <a:ext cx="6926332" cy="45658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ight Arrow 8"/>
          <p:cNvSpPr/>
          <p:nvPr/>
        </p:nvSpPr>
        <p:spPr>
          <a:xfrm>
            <a:off x="5399219" y="2422781"/>
            <a:ext cx="1858595" cy="2308092"/>
          </a:xfrm>
          <a:prstGeom prst="rightArrow">
            <a:avLst/>
          </a:prstGeom>
          <a:solidFill>
            <a:srgbClr val="FFC00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1129571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6" name="Picture 2" descr="See the source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6784" y="269507"/>
            <a:ext cx="11522513" cy="5968337"/>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772056" y="507325"/>
            <a:ext cx="10719130" cy="5492699"/>
          </a:xfrm>
        </p:spPr>
        <p:txBody>
          <a:bodyPr/>
          <a:lstStyle/>
          <a:p>
            <a:pPr algn="ctr"/>
            <a:r>
              <a:rPr lang="en-US" sz="3000" dirty="0" smtClean="0">
                <a:solidFill>
                  <a:schemeClr val="bg1"/>
                </a:solidFill>
                <a:latin typeface="MV Boli" panose="02000500030200090000" pitchFamily="2" charset="0"/>
                <a:cs typeface="MV Boli" panose="02000500030200090000" pitchFamily="2" charset="0"/>
              </a:rPr>
              <a:t>NEXT STEPS</a:t>
            </a:r>
          </a:p>
          <a:p>
            <a:pPr algn="ctr"/>
            <a:endParaRPr lang="en-US" dirty="0" smtClean="0">
              <a:solidFill>
                <a:schemeClr val="bg1"/>
              </a:solidFill>
              <a:latin typeface="MV Boli" panose="02000500030200090000" pitchFamily="2" charset="0"/>
              <a:cs typeface="MV Boli" panose="02000500030200090000" pitchFamily="2" charset="0"/>
            </a:endParaRPr>
          </a:p>
          <a:p>
            <a:pPr marL="457200" indent="-457200">
              <a:buFont typeface="+mj-lt"/>
              <a:buAutoNum type="arabicPeriod"/>
            </a:pPr>
            <a:r>
              <a:rPr lang="en-US" sz="2200" dirty="0" smtClean="0">
                <a:solidFill>
                  <a:schemeClr val="bg1"/>
                </a:solidFill>
                <a:latin typeface="MV Boli" panose="02000500030200090000" pitchFamily="2" charset="0"/>
                <a:cs typeface="MV Boli" panose="02000500030200090000" pitchFamily="2" charset="0"/>
              </a:rPr>
              <a:t>Consider social media as a risk</a:t>
            </a:r>
          </a:p>
          <a:p>
            <a:pPr marL="457200" indent="-457200">
              <a:buFont typeface="+mj-lt"/>
              <a:buAutoNum type="arabicPeriod"/>
            </a:pPr>
            <a:r>
              <a:rPr lang="en-US" sz="2200" dirty="0" smtClean="0">
                <a:solidFill>
                  <a:schemeClr val="bg1"/>
                </a:solidFill>
                <a:latin typeface="MV Boli" panose="02000500030200090000" pitchFamily="2" charset="0"/>
                <a:cs typeface="MV Boli" panose="02000500030200090000" pitchFamily="2" charset="0"/>
              </a:rPr>
              <a:t>Support responsible student social media efforts as a risk mitigation effort</a:t>
            </a:r>
          </a:p>
          <a:p>
            <a:pPr marL="457200" indent="-457200">
              <a:buFont typeface="+mj-lt"/>
              <a:buAutoNum type="arabicPeriod"/>
            </a:pPr>
            <a:r>
              <a:rPr lang="en-US" sz="2200" dirty="0">
                <a:solidFill>
                  <a:schemeClr val="bg1"/>
                </a:solidFill>
                <a:latin typeface="MV Boli" panose="02000500030200090000" pitchFamily="2" charset="0"/>
                <a:cs typeface="MV Boli" panose="02000500030200090000" pitchFamily="2" charset="0"/>
              </a:rPr>
              <a:t>Create and implement social media use guidelines</a:t>
            </a:r>
          </a:p>
          <a:p>
            <a:pPr marL="457200" indent="-457200">
              <a:buFont typeface="+mj-lt"/>
              <a:buAutoNum type="arabicPeriod"/>
            </a:pPr>
            <a:r>
              <a:rPr lang="en-US" sz="2200" dirty="0" smtClean="0">
                <a:solidFill>
                  <a:schemeClr val="bg1"/>
                </a:solidFill>
                <a:latin typeface="MV Boli" panose="02000500030200090000" pitchFamily="2" charset="0"/>
                <a:cs typeface="MV Boli" panose="02000500030200090000" pitchFamily="2" charset="0"/>
              </a:rPr>
              <a:t>Review and communicate handbook </a:t>
            </a:r>
            <a:r>
              <a:rPr lang="en-US" sz="2200" dirty="0">
                <a:solidFill>
                  <a:schemeClr val="bg1"/>
                </a:solidFill>
                <a:latin typeface="MV Boli" panose="02000500030200090000" pitchFamily="2" charset="0"/>
                <a:cs typeface="MV Boli" panose="02000500030200090000" pitchFamily="2" charset="0"/>
              </a:rPr>
              <a:t>s</a:t>
            </a:r>
            <a:r>
              <a:rPr lang="en-US" sz="2200" dirty="0" smtClean="0">
                <a:solidFill>
                  <a:schemeClr val="bg1"/>
                </a:solidFill>
                <a:latin typeface="MV Boli" panose="02000500030200090000" pitchFamily="2" charset="0"/>
                <a:cs typeface="MV Boli" panose="02000500030200090000" pitchFamily="2" charset="0"/>
              </a:rPr>
              <a:t>ocial </a:t>
            </a:r>
            <a:r>
              <a:rPr lang="en-US" sz="2200" dirty="0">
                <a:solidFill>
                  <a:schemeClr val="bg1"/>
                </a:solidFill>
                <a:latin typeface="MV Boli" panose="02000500030200090000" pitchFamily="2" charset="0"/>
                <a:cs typeface="MV Boli" panose="02000500030200090000" pitchFamily="2" charset="0"/>
              </a:rPr>
              <a:t>m</a:t>
            </a:r>
            <a:r>
              <a:rPr lang="en-US" sz="2200" dirty="0" smtClean="0">
                <a:solidFill>
                  <a:schemeClr val="bg1"/>
                </a:solidFill>
                <a:latin typeface="MV Boli" panose="02000500030200090000" pitchFamily="2" charset="0"/>
                <a:cs typeface="MV Boli" panose="02000500030200090000" pitchFamily="2" charset="0"/>
              </a:rPr>
              <a:t>edia </a:t>
            </a:r>
            <a:r>
              <a:rPr lang="en-US" sz="2200" dirty="0">
                <a:solidFill>
                  <a:schemeClr val="bg1"/>
                </a:solidFill>
                <a:latin typeface="MV Boli" panose="02000500030200090000" pitchFamily="2" charset="0"/>
                <a:cs typeface="MV Boli" panose="02000500030200090000" pitchFamily="2" charset="0"/>
              </a:rPr>
              <a:t>p</a:t>
            </a:r>
            <a:r>
              <a:rPr lang="en-US" sz="2200" dirty="0" smtClean="0">
                <a:solidFill>
                  <a:schemeClr val="bg1"/>
                </a:solidFill>
                <a:latin typeface="MV Boli" panose="02000500030200090000" pitchFamily="2" charset="0"/>
                <a:cs typeface="MV Boli" panose="02000500030200090000" pitchFamily="2" charset="0"/>
              </a:rPr>
              <a:t>olicies</a:t>
            </a:r>
            <a:endParaRPr lang="en-US" sz="2200" dirty="0">
              <a:solidFill>
                <a:schemeClr val="bg1"/>
              </a:solidFill>
              <a:latin typeface="MV Boli" panose="02000500030200090000" pitchFamily="2" charset="0"/>
              <a:cs typeface="MV Boli" panose="02000500030200090000" pitchFamily="2" charset="0"/>
            </a:endParaRPr>
          </a:p>
          <a:p>
            <a:pPr marL="457200" indent="-457200">
              <a:buFont typeface="+mj-lt"/>
              <a:buAutoNum type="arabicPeriod"/>
            </a:pPr>
            <a:r>
              <a:rPr lang="en-US" sz="2200" dirty="0" smtClean="0">
                <a:solidFill>
                  <a:schemeClr val="bg1"/>
                </a:solidFill>
                <a:latin typeface="MV Boli" panose="02000500030200090000" pitchFamily="2" charset="0"/>
                <a:cs typeface="MV Boli" panose="02000500030200090000" pitchFamily="2" charset="0"/>
              </a:rPr>
              <a:t>Educate </a:t>
            </a:r>
            <a:r>
              <a:rPr lang="en-US" sz="2200" dirty="0">
                <a:solidFill>
                  <a:schemeClr val="bg1"/>
                </a:solidFill>
                <a:latin typeface="MV Boli" panose="02000500030200090000" pitchFamily="2" charset="0"/>
                <a:cs typeface="MV Boli" panose="02000500030200090000" pitchFamily="2" charset="0"/>
              </a:rPr>
              <a:t>everyone on campus about academic freedom and free speech </a:t>
            </a:r>
          </a:p>
          <a:p>
            <a:pPr marL="457200" indent="-457200">
              <a:buFont typeface="+mj-lt"/>
              <a:buAutoNum type="arabicPeriod"/>
            </a:pPr>
            <a:r>
              <a:rPr lang="en-US" sz="2200" dirty="0" smtClean="0">
                <a:solidFill>
                  <a:schemeClr val="bg1"/>
                </a:solidFill>
                <a:latin typeface="MV Boli" panose="02000500030200090000" pitchFamily="2" charset="0"/>
                <a:cs typeface="MV Boli" panose="02000500030200090000" pitchFamily="2" charset="0"/>
              </a:rPr>
              <a:t>Ensure there is a process in place to assess potentially threatening speech, practice before a threat arises</a:t>
            </a:r>
          </a:p>
          <a:p>
            <a:pPr marL="285750" indent="-285750">
              <a:buFont typeface="Arial" panose="020B0604020202020204" pitchFamily="34" charset="0"/>
              <a:buChar char="•"/>
            </a:pPr>
            <a:endParaRPr lang="en-US" dirty="0">
              <a:solidFill>
                <a:schemeClr val="bg1"/>
              </a:solidFill>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smtClean="0">
              <a:solidFill>
                <a:schemeClr val="bg1"/>
              </a:solidFill>
              <a:latin typeface="MV Boli" panose="02000500030200090000" pitchFamily="2" charset="0"/>
              <a:cs typeface="MV Boli" panose="02000500030200090000" pitchFamily="2" charset="0"/>
            </a:endParaRPr>
          </a:p>
          <a:p>
            <a:pPr marL="285750" indent="-285750">
              <a:buFont typeface="Arial" panose="020B0604020202020204" pitchFamily="34" charset="0"/>
              <a:buChar char="•"/>
            </a:pPr>
            <a:endParaRPr lang="en-US" dirty="0">
              <a:solidFill>
                <a:schemeClr val="bg1"/>
              </a:solidFill>
              <a:latin typeface="MV Boli" panose="02000500030200090000" pitchFamily="2" charset="0"/>
              <a:cs typeface="MV Boli" panose="02000500030200090000" pitchFamily="2" charset="0"/>
            </a:endParaRPr>
          </a:p>
          <a:p>
            <a:endParaRPr lang="en-US" sz="1400" dirty="0">
              <a:solidFill>
                <a:schemeClr val="accent1"/>
              </a:solidFill>
            </a:endParaRPr>
          </a:p>
          <a:p>
            <a:endParaRPr lang="en-US" sz="1400" dirty="0" smtClean="0">
              <a:solidFill>
                <a:schemeClr val="bg1"/>
              </a:solidFill>
            </a:endParaRPr>
          </a:p>
        </p:txBody>
      </p:sp>
      <p:sp>
        <p:nvSpPr>
          <p:cNvPr id="6" name="Rectangle 5"/>
          <p:cNvSpPr/>
          <p:nvPr/>
        </p:nvSpPr>
        <p:spPr>
          <a:xfrm>
            <a:off x="478631" y="1472834"/>
            <a:ext cx="11237913" cy="4593952"/>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sp>
        <p:nvSpPr>
          <p:cNvPr id="8" name="Rectangle 7"/>
          <p:cNvSpPr/>
          <p:nvPr/>
        </p:nvSpPr>
        <p:spPr>
          <a:xfrm>
            <a:off x="336331" y="1228779"/>
            <a:ext cx="11603421" cy="5035387"/>
          </a:xfrm>
          <a:prstGeom prst="rect">
            <a:avLst/>
          </a:prstGeom>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Tree>
    <p:extLst>
      <p:ext uri="{BB962C8B-B14F-4D97-AF65-F5344CB8AC3E}">
        <p14:creationId xmlns:p14="http://schemas.microsoft.com/office/powerpoint/2010/main" val="910430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57200" y="1012536"/>
            <a:ext cx="11223624" cy="5141861"/>
          </a:xfrm>
        </p:spPr>
        <p:txBody>
          <a:bodyPr/>
          <a:lstStyle/>
          <a:p>
            <a:pPr defTabSz="914400">
              <a:spcBef>
                <a:spcPts val="0"/>
              </a:spcBef>
              <a:spcAft>
                <a:spcPts val="0"/>
              </a:spcAft>
              <a:defRPr/>
            </a:pPr>
            <a:r>
              <a:rPr lang="en-US" dirty="0"/>
              <a:t>Hilary Andersson, Social Media Apps are ‘Deliberately’ Addictive to Users, BBC News, </a:t>
            </a:r>
            <a:r>
              <a:rPr lang="en-US" dirty="0">
                <a:hlinkClick r:id="rId3"/>
              </a:rPr>
              <a:t>Social media apps are 'deliberately' addictive to users - BBC News</a:t>
            </a:r>
            <a:r>
              <a:rPr lang="en-US" dirty="0"/>
              <a:t>, July 4, 2018.</a:t>
            </a:r>
          </a:p>
          <a:p>
            <a:pPr lvl="0" defTabSz="914400">
              <a:spcBef>
                <a:spcPts val="0"/>
              </a:spcBef>
              <a:spcAft>
                <a:spcPts val="0"/>
              </a:spcAft>
              <a:defRPr/>
            </a:pPr>
            <a:endParaRPr lang="en-US" dirty="0" smtClean="0">
              <a:hlinkClick r:id="rId4"/>
            </a:endParaRPr>
          </a:p>
          <a:p>
            <a:pPr defTabSz="914400">
              <a:spcBef>
                <a:spcPts val="0"/>
              </a:spcBef>
              <a:spcAft>
                <a:spcPts val="0"/>
              </a:spcAft>
              <a:defRPr/>
            </a:pPr>
            <a:r>
              <a:rPr lang="en-US" dirty="0"/>
              <a:t>Rachel C. Conrad, Jessica M. Haddad, Alice Hibara, Katherine Kester, Cindy H. LiuChristina Macenski, Allison Mosier-Mills, Marguerite Schneider, The Impact of Social Media on College Mental Health During the COVID-19 </a:t>
            </a:r>
            <a:r>
              <a:rPr lang="en-US" dirty="0" smtClean="0"/>
              <a:t>Pandemic</a:t>
            </a:r>
            <a:r>
              <a:rPr lang="en-US" dirty="0"/>
              <a:t>: a Multinational Review of the Existing Literature, National Library of Medicine, </a:t>
            </a:r>
            <a:r>
              <a:rPr lang="en-US" dirty="0">
                <a:hlinkClick r:id="rId5"/>
              </a:rPr>
              <a:t>The Impact of Social Media on College Mental Health During the COVID-19 Pandemic: a Multinational Review of the Existing Literature - PMC (nih.gov)</a:t>
            </a:r>
            <a:r>
              <a:rPr lang="en-US" dirty="0"/>
              <a:t>, October 2, 2021.</a:t>
            </a:r>
          </a:p>
          <a:p>
            <a:pPr lvl="0" defTabSz="914400">
              <a:spcBef>
                <a:spcPts val="0"/>
              </a:spcBef>
              <a:spcAft>
                <a:spcPts val="0"/>
              </a:spcAft>
              <a:defRPr/>
            </a:pPr>
            <a:endParaRPr lang="en-US" dirty="0" smtClean="0">
              <a:hlinkClick r:id="rId4"/>
            </a:endParaRPr>
          </a:p>
          <a:p>
            <a:pPr defTabSz="914400">
              <a:spcBef>
                <a:spcPts val="0"/>
              </a:spcBef>
              <a:spcAft>
                <a:spcPts val="0"/>
              </a:spcAft>
              <a:defRPr/>
            </a:pPr>
            <a:r>
              <a:rPr lang="en-US" dirty="0"/>
              <a:t>Cyberbullying Research Center - </a:t>
            </a:r>
            <a:r>
              <a:rPr lang="en-US" dirty="0">
                <a:hlinkClick r:id="rId6"/>
              </a:rPr>
              <a:t>Cyberbullying Research Center - How to Identify, Prevent, and Respond</a:t>
            </a:r>
            <a:endParaRPr lang="en-US" dirty="0"/>
          </a:p>
          <a:p>
            <a:pPr lvl="0" defTabSz="914400">
              <a:spcBef>
                <a:spcPts val="0"/>
              </a:spcBef>
              <a:spcAft>
                <a:spcPts val="0"/>
              </a:spcAft>
              <a:defRPr/>
            </a:pPr>
            <a:endParaRPr lang="en-US" dirty="0"/>
          </a:p>
          <a:p>
            <a:pPr lvl="0" defTabSz="914400">
              <a:spcBef>
                <a:spcPts val="0"/>
              </a:spcBef>
              <a:spcAft>
                <a:spcPts val="0"/>
              </a:spcAft>
              <a:defRPr/>
            </a:pPr>
            <a:r>
              <a:rPr lang="en-US" dirty="0" smtClean="0"/>
              <a:t>Hilary Pettegrew, Esq., Campus Sexual Misconduct and Student Social Media Posts, United </a:t>
            </a:r>
            <a:r>
              <a:rPr lang="en-US" dirty="0"/>
              <a:t>Educators, </a:t>
            </a:r>
            <a:r>
              <a:rPr lang="en-US" dirty="0">
                <a:hlinkClick r:id="rId7"/>
              </a:rPr>
              <a:t>Campus Sexual Misconduct and Student Social Media Posts | United Educators (ue.org</a:t>
            </a:r>
            <a:r>
              <a:rPr lang="en-US" dirty="0" smtClean="0">
                <a:hlinkClick r:id="rId7"/>
              </a:rPr>
              <a:t>)</a:t>
            </a:r>
            <a:r>
              <a:rPr lang="en-US" dirty="0" smtClean="0"/>
              <a:t>, October 2020.</a:t>
            </a:r>
          </a:p>
          <a:p>
            <a:pPr lvl="0" defTabSz="914400">
              <a:spcBef>
                <a:spcPts val="0"/>
              </a:spcBef>
              <a:spcAft>
                <a:spcPts val="0"/>
              </a:spcAft>
              <a:defRPr/>
            </a:pPr>
            <a:endParaRPr lang="en-US" dirty="0"/>
          </a:p>
          <a:p>
            <a:pPr lvl="0" defTabSz="914400">
              <a:spcBef>
                <a:spcPts val="0"/>
              </a:spcBef>
              <a:spcAft>
                <a:spcPts val="0"/>
              </a:spcAft>
              <a:defRPr/>
            </a:pPr>
            <a:r>
              <a:rPr lang="en-US" dirty="0" smtClean="0"/>
              <a:t>MedicalNewsToday, </a:t>
            </a:r>
            <a:r>
              <a:rPr lang="en-US" dirty="0" smtClean="0">
                <a:hlinkClick r:id="rId8"/>
              </a:rPr>
              <a:t>Social media addiction: Recognizing the signs and how to beat it (medicalnewstoday.com)</a:t>
            </a:r>
            <a:r>
              <a:rPr lang="en-US" dirty="0" smtClean="0"/>
              <a:t>, December 21, 2022.</a:t>
            </a:r>
          </a:p>
          <a:p>
            <a:pPr lvl="0" defTabSz="914400">
              <a:spcBef>
                <a:spcPts val="0"/>
              </a:spcBef>
              <a:spcAft>
                <a:spcPts val="0"/>
              </a:spcAft>
              <a:defRPr/>
            </a:pPr>
            <a:endParaRPr lang="en-US" dirty="0"/>
          </a:p>
          <a:p>
            <a:pPr defTabSz="914400">
              <a:spcBef>
                <a:spcPts val="0"/>
              </a:spcBef>
              <a:spcAft>
                <a:spcPts val="0"/>
              </a:spcAft>
              <a:defRPr/>
            </a:pPr>
            <a:r>
              <a:rPr lang="en-US" dirty="0">
                <a:hlinkClick r:id="rId4"/>
              </a:rPr>
              <a:t>Social Media and Youth Mental Health (hhs.gov)</a:t>
            </a:r>
            <a:r>
              <a:rPr lang="en-US" dirty="0"/>
              <a:t> Surgeon General’s Advisory, 2023.</a:t>
            </a:r>
          </a:p>
          <a:p>
            <a:pPr lvl="0" defTabSz="914400">
              <a:spcBef>
                <a:spcPts val="0"/>
              </a:spcBef>
              <a:spcAft>
                <a:spcPts val="0"/>
              </a:spcAft>
              <a:defRPr/>
            </a:pPr>
            <a:endParaRPr lang="en-US" dirty="0" smtClean="0"/>
          </a:p>
          <a:p>
            <a:pPr lvl="0" defTabSz="914400">
              <a:spcBef>
                <a:spcPts val="0"/>
              </a:spcBef>
              <a:spcAft>
                <a:spcPts val="0"/>
              </a:spcAft>
              <a:defRPr/>
            </a:pPr>
            <a:endParaRPr lang="en-US" dirty="0"/>
          </a:p>
          <a:p>
            <a:endParaRPr lang="en-US" cap="all" dirty="0"/>
          </a:p>
          <a:p>
            <a:endParaRPr lang="en-US" dirty="0"/>
          </a:p>
          <a:p>
            <a:endParaRPr lang="en-US" dirty="0"/>
          </a:p>
        </p:txBody>
      </p:sp>
      <p:sp>
        <p:nvSpPr>
          <p:cNvPr id="4" name="Title 3"/>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22700180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955679"/>
            <a:ext cx="12192000" cy="4708981"/>
          </a:xfrm>
          <a:prstGeom prst="rect">
            <a:avLst/>
          </a:prstGeom>
          <a:noFill/>
        </p:spPr>
        <p:txBody>
          <a:bodyPr wrap="square" lIns="91440" tIns="45720" rIns="91440" bIns="45720">
            <a:spAutoFit/>
          </a:bodyPr>
          <a:lstStyle/>
          <a:p>
            <a:pPr algn="ctr"/>
            <a:r>
              <a:rPr lang="en-US" sz="30000" b="0" cap="none" spc="0" dirty="0" smtClean="0">
                <a:ln w="0"/>
                <a:solidFill>
                  <a:schemeClr val="bg1"/>
                </a:solidFill>
                <a:effectLst>
                  <a:reflection blurRad="6350" stA="53000" endA="300" endPos="35500" dir="5400000" sy="-90000" algn="bl" rotWithShape="0"/>
                </a:effectLst>
              </a:rPr>
              <a:t>?</a:t>
            </a:r>
            <a:endParaRPr lang="en-US" sz="30000" b="0" cap="none" spc="0" dirty="0">
              <a:ln w="0"/>
              <a:solidFill>
                <a:schemeClr val="bg1"/>
              </a:solidFill>
              <a:effectLst>
                <a:reflection blurRad="6350" stA="53000" endA="300" endPos="35500" dir="5400000" sy="-90000" algn="bl" rotWithShape="0"/>
              </a:effectLst>
            </a:endParaRPr>
          </a:p>
        </p:txBody>
      </p:sp>
    </p:spTree>
    <p:extLst>
      <p:ext uri="{BB962C8B-B14F-4D97-AF65-F5344CB8AC3E}">
        <p14:creationId xmlns:p14="http://schemas.microsoft.com/office/powerpoint/2010/main" val="273294968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07325" y="4366656"/>
            <a:ext cx="11263744" cy="1748940"/>
          </a:xfrm>
          <a:prstGeom prst="rect">
            <a:avLst/>
          </a:prstGeom>
        </p:spPr>
        <p:txBody>
          <a:bodyPr wrap="square">
            <a:spAutoFit/>
          </a:bodyPr>
          <a:lstStyle/>
          <a:p>
            <a:pPr>
              <a:lnSpc>
                <a:spcPct val="115000"/>
              </a:lnSpc>
              <a:spcBef>
                <a:spcPts val="500"/>
              </a:spcBef>
              <a:spcAft>
                <a:spcPts val="500"/>
              </a:spcAft>
            </a:pPr>
            <a:r>
              <a:rPr lang="en-US" sz="1050" dirty="0">
                <a:solidFill>
                  <a:schemeClr val="bg1"/>
                </a:solidFill>
              </a:rPr>
              <a:t>This document and any recommendations, analysis, or advice provided by Marsh (collectively, the “Marsh Analysis”) are intended solely for the entity identified as the recipient herein (“you”). This document contains proprietary, confidential information of Marsh and may not be shared with any third party, including other insurance producers, without Marsh’s prior written consent. Any statements concerning actuarial, tax, accounting, or legal matters are based solely on our experience as insurance brokers and risk consultants and are not to be relied upon as actuarial, accounting, tax, or legal advice, for which you should consult your own professional advisors. Any modeling, analytics, or projections are subject to inherent uncertainty, and the Marsh Analysis could be materially affected if any underlying assumptions, conditions, information, or factors are inaccurate or incomplete or should change. The information contained herein is based on sources we believe reliable, but we make no representation or warranty as to its accuracy. Except as may be set forth in an agreement between you and Marsh, Marsh shall have no obligation to update the Marsh Analysis and shall have no liability to you or any other party with regard to the Marsh Analysis or to any services provided by a third party to you or Marsh. Marsh makes no representation or warranty concerning the application of policy wordings or the financial condition or solvency of insurers or reinsurers. Marsh makes no assurances regarding the availability, cost, or terms of insurance coverage. </a:t>
            </a:r>
          </a:p>
        </p:txBody>
      </p:sp>
    </p:spTree>
    <p:extLst>
      <p:ext uri="{BB962C8B-B14F-4D97-AF65-F5344CB8AC3E}">
        <p14:creationId xmlns:p14="http://schemas.microsoft.com/office/powerpoint/2010/main" val="26527156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Today’s Discussion</a:t>
            </a:r>
            <a:endParaRPr lang="en-US" dirty="0"/>
          </a:p>
        </p:txBody>
      </p:sp>
      <p:sp>
        <p:nvSpPr>
          <p:cNvPr id="5" name="Text Placeholder 4"/>
          <p:cNvSpPr>
            <a:spLocks noGrp="1"/>
          </p:cNvSpPr>
          <p:nvPr>
            <p:ph type="body" sz="half" idx="2"/>
          </p:nvPr>
        </p:nvSpPr>
        <p:spPr/>
        <p:txBody>
          <a:bodyPr/>
          <a:lstStyle/>
          <a:p>
            <a:endParaRPr lang="en-US" dirty="0"/>
          </a:p>
        </p:txBody>
      </p:sp>
      <p:graphicFrame>
        <p:nvGraphicFramePr>
          <p:cNvPr id="6" name="Content Placeholder 6"/>
          <p:cNvGraphicFramePr>
            <a:graphicFrameLocks/>
          </p:cNvGraphicFramePr>
          <p:nvPr>
            <p:extLst>
              <p:ext uri="{D42A27DB-BD31-4B8C-83A1-F6EECF244321}">
                <p14:modId xmlns:p14="http://schemas.microsoft.com/office/powerpoint/2010/main" val="458351676"/>
              </p:ext>
            </p:extLst>
          </p:nvPr>
        </p:nvGraphicFramePr>
        <p:xfrm>
          <a:off x="1266723" y="1125283"/>
          <a:ext cx="9294359" cy="4987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1312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a:t>Social </a:t>
            </a:r>
            <a:r>
              <a:rPr lang="en-US" dirty="0" smtClean="0"/>
              <a:t>Media is An Integral Part of Campus</a:t>
            </a:r>
            <a:endParaRPr lang="en-US" dirty="0"/>
          </a:p>
        </p:txBody>
      </p:sp>
      <p:sp>
        <p:nvSpPr>
          <p:cNvPr id="5" name="Text Placeholder 4"/>
          <p:cNvSpPr>
            <a:spLocks noGrp="1"/>
          </p:cNvSpPr>
          <p:nvPr>
            <p:ph type="body" sz="half" idx="2"/>
          </p:nvPr>
        </p:nvSpPr>
        <p:spPr/>
        <p:txBody>
          <a:bodyPr/>
          <a:lstStyle/>
          <a:p>
            <a:endParaRPr lang="en-US" dirty="0"/>
          </a:p>
        </p:txBody>
      </p:sp>
      <p:pic>
        <p:nvPicPr>
          <p:cNvPr id="6" name="Picture 5"/>
          <p:cNvPicPr>
            <a:picLocks noChangeAspect="1"/>
          </p:cNvPicPr>
          <p:nvPr/>
        </p:nvPicPr>
        <p:blipFill>
          <a:blip r:embed="rId3"/>
          <a:stretch>
            <a:fillRect/>
          </a:stretch>
        </p:blipFill>
        <p:spPr>
          <a:xfrm>
            <a:off x="2630818" y="1210701"/>
            <a:ext cx="6933540" cy="2049981"/>
          </a:xfrm>
          <a:prstGeom prst="rect">
            <a:avLst/>
          </a:prstGeom>
          <a:ln w="12700">
            <a:solidFill>
              <a:schemeClr val="tx1"/>
            </a:solidFill>
          </a:ln>
        </p:spPr>
      </p:pic>
      <p:pic>
        <p:nvPicPr>
          <p:cNvPr id="7" name="Picture 6"/>
          <p:cNvPicPr>
            <a:picLocks noChangeAspect="1"/>
          </p:cNvPicPr>
          <p:nvPr/>
        </p:nvPicPr>
        <p:blipFill>
          <a:blip r:embed="rId4"/>
          <a:stretch>
            <a:fillRect/>
          </a:stretch>
        </p:blipFill>
        <p:spPr>
          <a:xfrm>
            <a:off x="724950" y="2731901"/>
            <a:ext cx="4575722" cy="3656199"/>
          </a:xfrm>
          <a:prstGeom prst="rect">
            <a:avLst/>
          </a:prstGeom>
          <a:ln w="12700">
            <a:solidFill>
              <a:schemeClr val="tx1"/>
            </a:solidFill>
          </a:ln>
        </p:spPr>
      </p:pic>
      <p:pic>
        <p:nvPicPr>
          <p:cNvPr id="8" name="Picture 7"/>
          <p:cNvPicPr>
            <a:picLocks noChangeAspect="1"/>
          </p:cNvPicPr>
          <p:nvPr/>
        </p:nvPicPr>
        <p:blipFill>
          <a:blip r:embed="rId5"/>
          <a:stretch>
            <a:fillRect/>
          </a:stretch>
        </p:blipFill>
        <p:spPr>
          <a:xfrm>
            <a:off x="5701540" y="3171022"/>
            <a:ext cx="6264444" cy="2977126"/>
          </a:xfrm>
          <a:prstGeom prst="rect">
            <a:avLst/>
          </a:prstGeom>
          <a:ln w="12700">
            <a:solidFill>
              <a:schemeClr val="tx1"/>
            </a:solidFill>
          </a:ln>
        </p:spPr>
      </p:pic>
    </p:spTree>
    <p:extLst>
      <p:ext uri="{BB962C8B-B14F-4D97-AF65-F5344CB8AC3E}">
        <p14:creationId xmlns:p14="http://schemas.microsoft.com/office/powerpoint/2010/main" val="1292963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20852" y="1578483"/>
            <a:ext cx="1224658" cy="1224658"/>
          </a:xfrm>
          <a:prstGeom prst="rect">
            <a:avLst/>
          </a:prstGeom>
        </p:spPr>
      </p:pic>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Positive Impacts</a:t>
            </a:r>
            <a:endParaRPr lang="en-US" dirty="0"/>
          </a:p>
        </p:txBody>
      </p:sp>
      <p:sp>
        <p:nvSpPr>
          <p:cNvPr id="5" name="Text Placeholder 4"/>
          <p:cNvSpPr>
            <a:spLocks noGrp="1"/>
          </p:cNvSpPr>
          <p:nvPr>
            <p:ph type="body" sz="half" idx="2"/>
          </p:nvPr>
        </p:nvSpPr>
        <p:spPr/>
        <p:txBody>
          <a:bodyPr/>
          <a:lstStyle/>
          <a:p>
            <a:endParaRPr lang="en-US" dirty="0"/>
          </a:p>
        </p:txBody>
      </p:sp>
      <p:sp>
        <p:nvSpPr>
          <p:cNvPr id="12" name="AutoShape 2" descr="American Education System ESL Game | Baamboozle - Baamboozle | The Most Fun  Classroom Gam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5006" y="1500800"/>
            <a:ext cx="1340886" cy="1340886"/>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7118" y="4440090"/>
            <a:ext cx="2315981" cy="1782220"/>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73849" y="3038091"/>
            <a:ext cx="1411917" cy="1411917"/>
          </a:xfrm>
          <a:prstGeom prst="rect">
            <a:avLst/>
          </a:prstGeom>
        </p:spPr>
      </p:pic>
      <p:sp>
        <p:nvSpPr>
          <p:cNvPr id="21" name="Rectangle 20"/>
          <p:cNvSpPr/>
          <p:nvPr/>
        </p:nvSpPr>
        <p:spPr>
          <a:xfrm>
            <a:off x="2354428" y="1587109"/>
            <a:ext cx="3479580" cy="1200329"/>
          </a:xfrm>
          <a:prstGeom prst="rect">
            <a:avLst/>
          </a:prstGeom>
        </p:spPr>
        <p:txBody>
          <a:bodyPr wrap="square">
            <a:spAutoFit/>
          </a:bodyPr>
          <a:lstStyle/>
          <a:p>
            <a:r>
              <a:rPr lang="en-US" b="1" dirty="0">
                <a:solidFill>
                  <a:srgbClr val="EF4E45"/>
                </a:solidFill>
              </a:rPr>
              <a:t>G</a:t>
            </a:r>
            <a:r>
              <a:rPr lang="en-US" b="1" dirty="0" smtClean="0">
                <a:solidFill>
                  <a:srgbClr val="EF4E45"/>
                </a:solidFill>
              </a:rPr>
              <a:t>irls </a:t>
            </a:r>
            <a:r>
              <a:rPr lang="en-US" b="1" dirty="0">
                <a:solidFill>
                  <a:srgbClr val="EF4E45"/>
                </a:solidFill>
              </a:rPr>
              <a:t>of color report encountering positive or identity-affirming content related to </a:t>
            </a:r>
            <a:r>
              <a:rPr lang="en-US" b="1" dirty="0" smtClean="0">
                <a:solidFill>
                  <a:srgbClr val="EF4E45"/>
                </a:solidFill>
              </a:rPr>
              <a:t>race</a:t>
            </a:r>
            <a:endParaRPr lang="en-US" b="1" dirty="0">
              <a:solidFill>
                <a:srgbClr val="EF4E45"/>
              </a:solidFill>
            </a:endParaRPr>
          </a:p>
        </p:txBody>
      </p:sp>
      <p:sp>
        <p:nvSpPr>
          <p:cNvPr id="22" name="Rectangle 21"/>
          <p:cNvSpPr/>
          <p:nvPr/>
        </p:nvSpPr>
        <p:spPr>
          <a:xfrm>
            <a:off x="5108462" y="3502648"/>
            <a:ext cx="3795588" cy="369332"/>
          </a:xfrm>
          <a:prstGeom prst="rect">
            <a:avLst/>
          </a:prstGeom>
        </p:spPr>
        <p:txBody>
          <a:bodyPr wrap="square">
            <a:spAutoFit/>
          </a:bodyPr>
          <a:lstStyle/>
          <a:p>
            <a:r>
              <a:rPr lang="en-US" b="1" dirty="0">
                <a:solidFill>
                  <a:schemeClr val="accent2">
                    <a:lumMod val="75000"/>
                  </a:schemeClr>
                </a:solidFill>
              </a:rPr>
              <a:t>H</a:t>
            </a:r>
            <a:r>
              <a:rPr lang="en-US" b="1" dirty="0" smtClean="0">
                <a:solidFill>
                  <a:schemeClr val="accent2">
                    <a:lumMod val="75000"/>
                  </a:schemeClr>
                </a:solidFill>
              </a:rPr>
              <a:t>elps </a:t>
            </a:r>
            <a:r>
              <a:rPr lang="en-US" b="1" dirty="0">
                <a:solidFill>
                  <a:schemeClr val="accent2">
                    <a:lumMod val="75000"/>
                  </a:schemeClr>
                </a:solidFill>
              </a:rPr>
              <a:t>them feel more accepted </a:t>
            </a:r>
          </a:p>
        </p:txBody>
      </p:sp>
      <p:sp>
        <p:nvSpPr>
          <p:cNvPr id="23" name="Rectangle 22"/>
          <p:cNvSpPr/>
          <p:nvPr/>
        </p:nvSpPr>
        <p:spPr>
          <a:xfrm>
            <a:off x="7800591" y="1694463"/>
            <a:ext cx="3934305" cy="923330"/>
          </a:xfrm>
          <a:prstGeom prst="rect">
            <a:avLst/>
          </a:prstGeom>
        </p:spPr>
        <p:txBody>
          <a:bodyPr wrap="square">
            <a:spAutoFit/>
          </a:bodyPr>
          <a:lstStyle/>
          <a:p>
            <a:r>
              <a:rPr lang="en-US" b="1" dirty="0" smtClean="0">
                <a:solidFill>
                  <a:srgbClr val="FFBE00"/>
                </a:solidFill>
              </a:rPr>
              <a:t>Feel like </a:t>
            </a:r>
            <a:r>
              <a:rPr lang="en-US" b="1" dirty="0">
                <a:solidFill>
                  <a:srgbClr val="FFBE00"/>
                </a:solidFill>
              </a:rPr>
              <a:t>they have people who can support them through tough times </a:t>
            </a:r>
          </a:p>
        </p:txBody>
      </p:sp>
      <p:sp>
        <p:nvSpPr>
          <p:cNvPr id="24" name="Rectangle 23"/>
          <p:cNvSpPr/>
          <p:nvPr/>
        </p:nvSpPr>
        <p:spPr>
          <a:xfrm>
            <a:off x="2357807" y="5019015"/>
            <a:ext cx="3322528" cy="646331"/>
          </a:xfrm>
          <a:prstGeom prst="rect">
            <a:avLst/>
          </a:prstGeom>
        </p:spPr>
        <p:txBody>
          <a:bodyPr wrap="square">
            <a:spAutoFit/>
          </a:bodyPr>
          <a:lstStyle/>
          <a:p>
            <a:r>
              <a:rPr lang="en-US" b="1" dirty="0" smtClean="0">
                <a:solidFill>
                  <a:srgbClr val="92D050"/>
                </a:solidFill>
              </a:rPr>
              <a:t>Have </a:t>
            </a:r>
            <a:r>
              <a:rPr lang="en-US" b="1" dirty="0">
                <a:solidFill>
                  <a:srgbClr val="92D050"/>
                </a:solidFill>
              </a:rPr>
              <a:t>a place to show their creative side </a:t>
            </a:r>
          </a:p>
        </p:txBody>
      </p:sp>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2298" y="4706250"/>
            <a:ext cx="1291284" cy="1291284"/>
          </a:xfrm>
          <a:prstGeom prst="rect">
            <a:avLst/>
          </a:prstGeom>
        </p:spPr>
      </p:pic>
      <p:sp>
        <p:nvSpPr>
          <p:cNvPr id="26" name="Rectangle 25"/>
          <p:cNvSpPr/>
          <p:nvPr/>
        </p:nvSpPr>
        <p:spPr>
          <a:xfrm>
            <a:off x="7804778" y="5047143"/>
            <a:ext cx="3527945" cy="646331"/>
          </a:xfrm>
          <a:prstGeom prst="rect">
            <a:avLst/>
          </a:prstGeom>
        </p:spPr>
        <p:txBody>
          <a:bodyPr wrap="square">
            <a:spAutoFit/>
          </a:bodyPr>
          <a:lstStyle/>
          <a:p>
            <a:r>
              <a:rPr lang="en-US" b="1" dirty="0" smtClean="0">
                <a:solidFill>
                  <a:srgbClr val="9A1C1F"/>
                </a:solidFill>
              </a:rPr>
              <a:t>Are more </a:t>
            </a:r>
            <a:r>
              <a:rPr lang="en-US" b="1" dirty="0">
                <a:solidFill>
                  <a:srgbClr val="9A1C1F"/>
                </a:solidFill>
              </a:rPr>
              <a:t>connected to what’s going on in their friends’ lives </a:t>
            </a:r>
          </a:p>
        </p:txBody>
      </p:sp>
      <p:sp>
        <p:nvSpPr>
          <p:cNvPr id="33" name="Rectangle 32"/>
          <p:cNvSpPr/>
          <p:nvPr/>
        </p:nvSpPr>
        <p:spPr>
          <a:xfrm>
            <a:off x="563218" y="6191574"/>
            <a:ext cx="9144000" cy="246221"/>
          </a:xfrm>
          <a:prstGeom prst="rect">
            <a:avLst/>
          </a:prstGeom>
        </p:spPr>
        <p:txBody>
          <a:bodyPr wrap="square">
            <a:spAutoFit/>
          </a:bodyPr>
          <a:lstStyle/>
          <a:p>
            <a:pPr defTabSz="914400">
              <a:defRPr/>
            </a:pPr>
            <a:r>
              <a:rPr lang="en-US" sz="1000" dirty="0"/>
              <a:t>Surgeon General’s </a:t>
            </a:r>
            <a:r>
              <a:rPr lang="en-US" sz="1000" dirty="0" smtClean="0"/>
              <a:t>Advisory - </a:t>
            </a:r>
            <a:r>
              <a:rPr lang="en-US" sz="1000" dirty="0" smtClean="0">
                <a:hlinkClick r:id="rId8"/>
              </a:rPr>
              <a:t>Social Media and Youth Mental Health (hhs.gov)</a:t>
            </a:r>
            <a:endParaRPr lang="en-US" sz="1000" dirty="0"/>
          </a:p>
        </p:txBody>
      </p:sp>
      <p:sp>
        <p:nvSpPr>
          <p:cNvPr id="3" name="AutoShape 4" descr="Soja: Plantio alcança 67% da área estimada no Brasil, segundo AgRural -  Agricenter"/>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6" descr="Soja: Plantio alcança 67% da área estimada no Brasil, segundo AgRural -  Agricenter"/>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520902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sp>
        <p:nvSpPr>
          <p:cNvPr id="4" name="Title 3"/>
          <p:cNvSpPr>
            <a:spLocks noGrp="1"/>
          </p:cNvSpPr>
          <p:nvPr>
            <p:ph type="title"/>
          </p:nvPr>
        </p:nvSpPr>
        <p:spPr/>
        <p:txBody>
          <a:bodyPr/>
          <a:lstStyle/>
          <a:p>
            <a:r>
              <a:rPr lang="en-US" dirty="0" smtClean="0"/>
              <a:t>US Surgeon General Advisory</a:t>
            </a:r>
            <a:endParaRPr lang="en-US" dirty="0"/>
          </a:p>
        </p:txBody>
      </p:sp>
      <p:sp>
        <p:nvSpPr>
          <p:cNvPr id="5" name="Text Placeholder 4"/>
          <p:cNvSpPr>
            <a:spLocks noGrp="1"/>
          </p:cNvSpPr>
          <p:nvPr>
            <p:ph type="body" sz="half" idx="2"/>
          </p:nvPr>
        </p:nvSpPr>
        <p:spPr/>
        <p:txBody>
          <a:bodyPr/>
          <a:lstStyle/>
          <a:p>
            <a:r>
              <a:rPr lang="en-US" dirty="0" smtClean="0"/>
              <a:t>Social Media and Young Mental Health</a:t>
            </a:r>
            <a:endParaRPr lang="en-US" dirty="0"/>
          </a:p>
        </p:txBody>
      </p:sp>
      <p:pic>
        <p:nvPicPr>
          <p:cNvPr id="6" name="Picture 5"/>
          <p:cNvPicPr>
            <a:picLocks noChangeAspect="1"/>
          </p:cNvPicPr>
          <p:nvPr/>
        </p:nvPicPr>
        <p:blipFill>
          <a:blip r:embed="rId3"/>
          <a:stretch>
            <a:fillRect/>
          </a:stretch>
        </p:blipFill>
        <p:spPr>
          <a:xfrm>
            <a:off x="6097588" y="518127"/>
            <a:ext cx="5705475" cy="4410075"/>
          </a:xfrm>
          <a:prstGeom prst="rect">
            <a:avLst/>
          </a:prstGeom>
        </p:spPr>
      </p:pic>
      <p:pic>
        <p:nvPicPr>
          <p:cNvPr id="7" name="Picture 6"/>
          <p:cNvPicPr>
            <a:picLocks noChangeAspect="1"/>
          </p:cNvPicPr>
          <p:nvPr/>
        </p:nvPicPr>
        <p:blipFill>
          <a:blip r:embed="rId4"/>
          <a:stretch>
            <a:fillRect/>
          </a:stretch>
        </p:blipFill>
        <p:spPr>
          <a:xfrm>
            <a:off x="676803" y="3558806"/>
            <a:ext cx="5406496" cy="2234191"/>
          </a:xfrm>
          <a:prstGeom prst="rect">
            <a:avLst/>
          </a:prstGeom>
        </p:spPr>
      </p:pic>
      <p:sp>
        <p:nvSpPr>
          <p:cNvPr id="9" name="Rectangle 8"/>
          <p:cNvSpPr/>
          <p:nvPr/>
        </p:nvSpPr>
        <p:spPr>
          <a:xfrm>
            <a:off x="563218" y="6141879"/>
            <a:ext cx="9144000" cy="246221"/>
          </a:xfrm>
          <a:prstGeom prst="rect">
            <a:avLst/>
          </a:prstGeom>
        </p:spPr>
        <p:txBody>
          <a:bodyPr wrap="square">
            <a:spAutoFit/>
          </a:bodyPr>
          <a:lstStyle/>
          <a:p>
            <a:pPr defTabSz="914400">
              <a:defRPr/>
            </a:pPr>
            <a:r>
              <a:rPr lang="en-US" sz="1000" dirty="0"/>
              <a:t>Surgeon General’s </a:t>
            </a:r>
            <a:r>
              <a:rPr lang="en-US" sz="1000" dirty="0" smtClean="0"/>
              <a:t>Advisory - </a:t>
            </a:r>
            <a:r>
              <a:rPr lang="en-US" sz="1000" dirty="0" smtClean="0">
                <a:hlinkClick r:id="rId5"/>
              </a:rPr>
              <a:t>Social Media and Youth Mental Health (hhs.gov)</a:t>
            </a:r>
            <a:endParaRPr lang="en-US" sz="1000" dirty="0"/>
          </a:p>
        </p:txBody>
      </p:sp>
    </p:spTree>
    <p:extLst>
      <p:ext uri="{BB962C8B-B14F-4D97-AF65-F5344CB8AC3E}">
        <p14:creationId xmlns:p14="http://schemas.microsoft.com/office/powerpoint/2010/main" val="565151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2" name="Picture 2" descr="Best Time to Post on Social Media for the Highest Engagement"/>
          <p:cNvPicPr>
            <a:picLocks noChangeAspect="1" noChangeArrowheads="1"/>
          </p:cNvPicPr>
          <p:nvPr/>
        </p:nvPicPr>
        <p:blipFill rotWithShape="1">
          <a:blip r:embed="rId3">
            <a:extLst>
              <a:ext uri="{28A0092B-C50C-407E-A947-70E740481C1C}">
                <a14:useLocalDpi xmlns:a14="http://schemas.microsoft.com/office/drawing/2010/main" val="0"/>
              </a:ext>
            </a:extLst>
          </a:blip>
          <a:srcRect l="-32" t="402" r="26984" b="-402"/>
          <a:stretch/>
        </p:blipFill>
        <p:spPr bwMode="auto">
          <a:xfrm>
            <a:off x="2145144" y="1174918"/>
            <a:ext cx="7876309" cy="5163547"/>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half" idx="10"/>
          </p:nvPr>
        </p:nvSpPr>
        <p:spPr/>
        <p:txBody>
          <a:bodyPr/>
          <a:lstStyle/>
          <a:p>
            <a:endParaRPr lang="en-US" dirty="0"/>
          </a:p>
        </p:txBody>
      </p:sp>
      <p:sp>
        <p:nvSpPr>
          <p:cNvPr id="3" name="Content Placeholder 2"/>
          <p:cNvSpPr>
            <a:spLocks noGrp="1"/>
          </p:cNvSpPr>
          <p:nvPr>
            <p:ph sz="quarter" idx="11"/>
          </p:nvPr>
        </p:nvSpPr>
        <p:spPr>
          <a:xfrm>
            <a:off x="2521164" y="1966555"/>
            <a:ext cx="2670379" cy="3706658"/>
          </a:xfrm>
        </p:spPr>
        <p:txBody>
          <a:bodyPr/>
          <a:lstStyle/>
          <a:p>
            <a:r>
              <a:rPr lang="en-US" sz="3200" dirty="0" smtClean="0">
                <a:solidFill>
                  <a:schemeClr val="bg1"/>
                </a:solidFill>
              </a:rPr>
              <a:t>How many hours does the average college student spend on social media daily?</a:t>
            </a:r>
            <a:endParaRPr lang="en-US" sz="3200" dirty="0">
              <a:solidFill>
                <a:schemeClr val="bg1"/>
              </a:solidFill>
            </a:endParaRPr>
          </a:p>
        </p:txBody>
      </p:sp>
      <p:sp>
        <p:nvSpPr>
          <p:cNvPr id="4" name="Title 3"/>
          <p:cNvSpPr>
            <a:spLocks noGrp="1"/>
          </p:cNvSpPr>
          <p:nvPr>
            <p:ph type="title"/>
          </p:nvPr>
        </p:nvSpPr>
        <p:spPr/>
        <p:txBody>
          <a:bodyPr/>
          <a:lstStyle/>
          <a:p>
            <a:r>
              <a:rPr lang="en-US" dirty="0" smtClean="0"/>
              <a:t>Student Social Media Risk</a:t>
            </a:r>
            <a:endParaRPr lang="en-US" dirty="0"/>
          </a:p>
        </p:txBody>
      </p:sp>
      <p:sp>
        <p:nvSpPr>
          <p:cNvPr id="5" name="Text Placeholder 4"/>
          <p:cNvSpPr>
            <a:spLocks noGrp="1"/>
          </p:cNvSpPr>
          <p:nvPr>
            <p:ph type="body" sz="half" idx="2"/>
          </p:nvPr>
        </p:nvSpPr>
        <p:spPr/>
        <p:txBody>
          <a:bodyPr/>
          <a:lstStyle/>
          <a:p>
            <a:endParaRPr lang="en-US" dirty="0"/>
          </a:p>
        </p:txBody>
      </p:sp>
    </p:spTree>
    <p:extLst>
      <p:ext uri="{BB962C8B-B14F-4D97-AF65-F5344CB8AC3E}">
        <p14:creationId xmlns:p14="http://schemas.microsoft.com/office/powerpoint/2010/main" val="11811763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n-US" dirty="0"/>
          </a:p>
        </p:txBody>
      </p:sp>
      <p:pic>
        <p:nvPicPr>
          <p:cNvPr id="6" name="Content Placeholder 5"/>
          <p:cNvPicPr>
            <a:picLocks noGrp="1" noChangeAspect="1"/>
          </p:cNvPicPr>
          <p:nvPr>
            <p:ph sz="quarter" idx="11"/>
          </p:nvPr>
        </p:nvPicPr>
        <p:blipFill>
          <a:blip r:embed="rId3"/>
          <a:stretch>
            <a:fillRect/>
          </a:stretch>
        </p:blipFill>
        <p:spPr>
          <a:xfrm>
            <a:off x="1176338" y="966045"/>
            <a:ext cx="10067925" cy="4067175"/>
          </a:xfrm>
          <a:prstGeom prst="rect">
            <a:avLst/>
          </a:prstGeom>
        </p:spPr>
      </p:pic>
      <p:sp>
        <p:nvSpPr>
          <p:cNvPr id="4" name="Title 3"/>
          <p:cNvSpPr>
            <a:spLocks noGrp="1"/>
          </p:cNvSpPr>
          <p:nvPr>
            <p:ph type="title"/>
          </p:nvPr>
        </p:nvSpPr>
        <p:spPr/>
        <p:txBody>
          <a:bodyPr/>
          <a:lstStyle/>
          <a:p>
            <a:r>
              <a:rPr lang="en-US" dirty="0" smtClean="0"/>
              <a:t>Sooooo Many Apps!</a:t>
            </a:r>
            <a:endParaRPr lang="en-US" dirty="0"/>
          </a:p>
        </p:txBody>
      </p:sp>
      <p:sp>
        <p:nvSpPr>
          <p:cNvPr id="5" name="Text Placeholder 4"/>
          <p:cNvSpPr>
            <a:spLocks noGrp="1"/>
          </p:cNvSpPr>
          <p:nvPr>
            <p:ph type="body" sz="half" idx="2"/>
          </p:nvPr>
        </p:nvSpPr>
        <p:spPr/>
        <p:txBody>
          <a:bodyPr/>
          <a:lstStyle/>
          <a:p>
            <a:endParaRPr lang="en-US" dirty="0"/>
          </a:p>
        </p:txBody>
      </p:sp>
      <p:sp>
        <p:nvSpPr>
          <p:cNvPr id="7" name="Rectangle 6"/>
          <p:cNvSpPr/>
          <p:nvPr/>
        </p:nvSpPr>
        <p:spPr>
          <a:xfrm>
            <a:off x="1528011" y="5479827"/>
            <a:ext cx="9817768" cy="461665"/>
          </a:xfrm>
          <a:prstGeom prst="rect">
            <a:avLst/>
          </a:prstGeom>
        </p:spPr>
        <p:txBody>
          <a:bodyPr wrap="square">
            <a:spAutoFit/>
          </a:bodyPr>
          <a:lstStyle/>
          <a:p>
            <a:r>
              <a:rPr lang="en-US" sz="2400" dirty="0">
                <a:hlinkClick r:id="rId4"/>
              </a:rPr>
              <a:t>Most Popular Social Media Apps - Cyberbullying Research Center</a:t>
            </a:r>
            <a:endParaRPr lang="en-US" sz="2400" dirty="0"/>
          </a:p>
        </p:txBody>
      </p:sp>
    </p:spTree>
    <p:extLst>
      <p:ext uri="{BB962C8B-B14F-4D97-AF65-F5344CB8AC3E}">
        <p14:creationId xmlns:p14="http://schemas.microsoft.com/office/powerpoint/2010/main" val="21118999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100449" y="952686"/>
            <a:ext cx="6608950" cy="4890190"/>
          </a:xfrm>
          <a:prstGeom prst="rect">
            <a:avLst/>
          </a:prstGeom>
          <a:solidFill>
            <a:schemeClr val="tx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endParaRPr lang="en-US" dirty="0" smtClean="0"/>
          </a:p>
        </p:txBody>
      </p:sp>
      <p:sp>
        <p:nvSpPr>
          <p:cNvPr id="2" name="Text Placeholder 1"/>
          <p:cNvSpPr>
            <a:spLocks noGrp="1"/>
          </p:cNvSpPr>
          <p:nvPr>
            <p:ph type="body" sz="half" idx="10"/>
          </p:nvPr>
        </p:nvSpPr>
        <p:spPr/>
        <p:txBody>
          <a:bodyPr/>
          <a:lstStyle/>
          <a:p>
            <a:endParaRPr lang="en-US" dirty="0"/>
          </a:p>
        </p:txBody>
      </p:sp>
      <p:sp>
        <p:nvSpPr>
          <p:cNvPr id="3" name="TextBox 2"/>
          <p:cNvSpPr txBox="1"/>
          <p:nvPr/>
        </p:nvSpPr>
        <p:spPr>
          <a:xfrm>
            <a:off x="10123469" y="5397481"/>
            <a:ext cx="1436291" cy="276999"/>
          </a:xfrm>
          <a:prstGeom prst="rect">
            <a:avLst/>
          </a:prstGeom>
          <a:noFill/>
        </p:spPr>
        <p:txBody>
          <a:bodyPr wrap="none" lIns="0" tIns="0" rIns="0" bIns="0" rtlCol="0">
            <a:spAutoFit/>
          </a:bodyPr>
          <a:lstStyle/>
          <a:p>
            <a:pPr algn="l"/>
            <a:r>
              <a:rPr lang="en-US" dirty="0" smtClean="0">
                <a:solidFill>
                  <a:srgbClr val="DADADA"/>
                </a:solidFill>
              </a:rPr>
              <a:t>READBEACH</a:t>
            </a:r>
            <a:endParaRPr lang="en-US" dirty="0">
              <a:solidFill>
                <a:srgbClr val="DADADA"/>
              </a:solidFill>
            </a:endParaRPr>
          </a:p>
        </p:txBody>
      </p:sp>
      <p:sp>
        <p:nvSpPr>
          <p:cNvPr id="7" name="TextBox 6"/>
          <p:cNvSpPr txBox="1"/>
          <p:nvPr/>
        </p:nvSpPr>
        <p:spPr>
          <a:xfrm>
            <a:off x="5764696" y="1178076"/>
            <a:ext cx="5645426" cy="4278094"/>
          </a:xfrm>
          <a:prstGeom prst="rect">
            <a:avLst/>
          </a:prstGeom>
          <a:noFill/>
        </p:spPr>
        <p:txBody>
          <a:bodyPr wrap="square" lIns="0" tIns="0" rIns="0" bIns="0" rtlCol="0">
            <a:spAutoFit/>
          </a:bodyPr>
          <a:lstStyle/>
          <a:p>
            <a:pPr algn="l"/>
            <a:r>
              <a:rPr lang="en-US" sz="4400" dirty="0" smtClean="0">
                <a:solidFill>
                  <a:schemeClr val="bg1"/>
                </a:solidFill>
              </a:rPr>
              <a:t>Social Media…</a:t>
            </a:r>
          </a:p>
          <a:p>
            <a:pPr algn="l"/>
            <a:endParaRPr lang="en-US" sz="1400" dirty="0">
              <a:solidFill>
                <a:schemeClr val="bg1"/>
              </a:solidFill>
            </a:endParaRPr>
          </a:p>
          <a:p>
            <a:pPr algn="l"/>
            <a:r>
              <a:rPr lang="en-US" sz="4400" dirty="0" smtClean="0">
                <a:solidFill>
                  <a:schemeClr val="bg1"/>
                </a:solidFill>
              </a:rPr>
              <a:t>Where Hypocrisy, Falseness, Double Standards, Rumors &amp; Depression meet up for coffee.</a:t>
            </a:r>
            <a:endParaRPr lang="en-US" sz="4400" dirty="0">
              <a:solidFill>
                <a:schemeClr val="bg1"/>
              </a:solidFill>
            </a:endParaRPr>
          </a:p>
        </p:txBody>
      </p:sp>
      <p:sp>
        <p:nvSpPr>
          <p:cNvPr id="8" name="AutoShape 2" descr="Coffee Cup Outline Vector SVG Icon - SVG Rep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8"/>
          <p:cNvSpPr/>
          <p:nvPr/>
        </p:nvSpPr>
        <p:spPr>
          <a:xfrm>
            <a:off x="322971" y="1302106"/>
            <a:ext cx="6882899" cy="3977814"/>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US" dirty="0" smtClean="0"/>
          </a:p>
        </p:txBody>
      </p:sp>
      <p:pic>
        <p:nvPicPr>
          <p:cNvPr id="138254" name="Picture 14" descr="Premium Vector | Contour cup with coffee and foam on a transparent  background line drawing logo isolate ic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375" y="649035"/>
            <a:ext cx="4809525" cy="54974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44890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485776" y="1326837"/>
            <a:ext cx="11223624" cy="4672397"/>
          </a:xfrm>
        </p:spPr>
        <p:txBody>
          <a:bodyPr/>
          <a:lstStyle/>
          <a:p>
            <a:pPr fontAlgn="base"/>
            <a:endParaRPr lang="en-US" dirty="0" smtClean="0"/>
          </a:p>
          <a:p>
            <a:pPr algn="ctr" fontAlgn="base"/>
            <a:r>
              <a:rPr lang="en-US" sz="6000" i="1" dirty="0">
                <a:solidFill>
                  <a:srgbClr val="A32E00"/>
                </a:solidFill>
              </a:rPr>
              <a:t>"exploiting a vulnerability in human </a:t>
            </a:r>
            <a:r>
              <a:rPr lang="en-US" sz="6000" i="1" dirty="0" smtClean="0">
                <a:solidFill>
                  <a:srgbClr val="A32E00"/>
                </a:solidFill>
              </a:rPr>
              <a:t>psychology“</a:t>
            </a:r>
          </a:p>
          <a:p>
            <a:pPr algn="ctr" fontAlgn="base"/>
            <a:r>
              <a:rPr lang="en-US" sz="2400" dirty="0" smtClean="0">
                <a:solidFill>
                  <a:srgbClr val="A32E00"/>
                </a:solidFill>
              </a:rPr>
              <a:t>                                                  Sean Parker, Facebook’s Founder</a:t>
            </a:r>
            <a:endParaRPr lang="en-US" sz="2400" dirty="0">
              <a:solidFill>
                <a:srgbClr val="A32E00"/>
              </a:solidFill>
            </a:endParaRPr>
          </a:p>
          <a:p>
            <a:pPr fontAlgn="base"/>
            <a:endParaRPr lang="en-US" dirty="0"/>
          </a:p>
          <a:p>
            <a:pPr fontAlgn="base"/>
            <a:r>
              <a:rPr lang="en-US" sz="2400" dirty="0" smtClean="0"/>
              <a:t>In 2017, Sean Parker said </a:t>
            </a:r>
            <a:r>
              <a:rPr lang="en-US" sz="2400" dirty="0"/>
              <a:t>publicly that the company set out to consume as much user time as </a:t>
            </a:r>
            <a:r>
              <a:rPr lang="en-US" sz="2400" dirty="0" smtClean="0"/>
              <a:t>possible.  Facebook has since put some controls in place but the structure continues.</a:t>
            </a:r>
            <a:endParaRPr lang="en-US" sz="2400" dirty="0"/>
          </a:p>
          <a:p>
            <a:endParaRPr lang="en-US" dirty="0" smtClean="0"/>
          </a:p>
          <a:p>
            <a:endParaRPr lang="en-US" sz="2400" dirty="0" smtClean="0">
              <a:solidFill>
                <a:schemeClr val="accent1"/>
              </a:solidFill>
              <a:latin typeface="Arial Black" panose="020B0A04020102020204" pitchFamily="34" charset="0"/>
            </a:endParaRPr>
          </a:p>
        </p:txBody>
      </p:sp>
      <p:sp>
        <p:nvSpPr>
          <p:cNvPr id="4" name="Title 3"/>
          <p:cNvSpPr>
            <a:spLocks noGrp="1"/>
          </p:cNvSpPr>
          <p:nvPr>
            <p:ph type="title"/>
          </p:nvPr>
        </p:nvSpPr>
        <p:spPr/>
        <p:txBody>
          <a:bodyPr/>
          <a:lstStyle/>
          <a:p>
            <a:r>
              <a:rPr lang="en-US" dirty="0"/>
              <a:t>S</a:t>
            </a:r>
            <a:r>
              <a:rPr lang="en-US" dirty="0" smtClean="0"/>
              <a:t>ocial Media - Designed to be Addictive</a:t>
            </a:r>
            <a:endParaRPr lang="en-US" dirty="0"/>
          </a:p>
        </p:txBody>
      </p:sp>
      <p:sp>
        <p:nvSpPr>
          <p:cNvPr id="2" name="Text Placeholder 1"/>
          <p:cNvSpPr>
            <a:spLocks noGrp="1"/>
          </p:cNvSpPr>
          <p:nvPr>
            <p:ph type="body" sz="half" idx="2"/>
          </p:nvPr>
        </p:nvSpPr>
        <p:spPr/>
        <p:txBody>
          <a:bodyPr/>
          <a:lstStyle/>
          <a:p>
            <a:endParaRPr lang="en-US" dirty="0"/>
          </a:p>
        </p:txBody>
      </p:sp>
      <p:sp>
        <p:nvSpPr>
          <p:cNvPr id="6" name="TextBox 5"/>
          <p:cNvSpPr txBox="1"/>
          <p:nvPr/>
        </p:nvSpPr>
        <p:spPr>
          <a:xfrm>
            <a:off x="485776" y="6123844"/>
            <a:ext cx="4231928" cy="153888"/>
          </a:xfrm>
          <a:prstGeom prst="rect">
            <a:avLst/>
          </a:prstGeom>
          <a:noFill/>
        </p:spPr>
        <p:txBody>
          <a:bodyPr wrap="none" lIns="0" tIns="0" rIns="0" bIns="0" rtlCol="0">
            <a:spAutoFit/>
          </a:bodyPr>
          <a:lstStyle/>
          <a:p>
            <a:r>
              <a:rPr lang="en-US" sz="1000" dirty="0"/>
              <a:t>Source: </a:t>
            </a:r>
            <a:r>
              <a:rPr lang="en-US" sz="1000" dirty="0">
                <a:hlinkClick r:id="rId3"/>
              </a:rPr>
              <a:t>Social media apps are 'deliberately' addictive to users - BBC </a:t>
            </a:r>
            <a:r>
              <a:rPr lang="en-US" sz="1000" dirty="0" smtClean="0">
                <a:hlinkClick r:id="rId3"/>
              </a:rPr>
              <a:t>News</a:t>
            </a:r>
            <a:endParaRPr lang="en-US" sz="1000" dirty="0"/>
          </a:p>
        </p:txBody>
      </p:sp>
    </p:spTree>
    <p:extLst>
      <p:ext uri="{BB962C8B-B14F-4D97-AF65-F5344CB8AC3E}">
        <p14:creationId xmlns:p14="http://schemas.microsoft.com/office/powerpoint/2010/main" val="3726667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rsh">
  <a:themeElements>
    <a:clrScheme name="Custom 17">
      <a:dk1>
        <a:srgbClr val="202020"/>
      </a:dk1>
      <a:lt1>
        <a:srgbClr val="FFFFFF"/>
      </a:lt1>
      <a:dk2>
        <a:srgbClr val="002C77"/>
      </a:dk2>
      <a:lt2>
        <a:srgbClr val="565656"/>
      </a:lt2>
      <a:accent1>
        <a:srgbClr val="002C77"/>
      </a:accent1>
      <a:accent2>
        <a:srgbClr val="009DE0"/>
      </a:accent2>
      <a:accent3>
        <a:srgbClr val="76D3FF"/>
      </a:accent3>
      <a:accent4>
        <a:srgbClr val="0077A0"/>
      </a:accent4>
      <a:accent5>
        <a:srgbClr val="00968F"/>
      </a:accent5>
      <a:accent6>
        <a:srgbClr val="00AC41"/>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none" lIns="0" tIns="0" rIns="0" bIns="0" numCol="1" spcCol="0" rtlCol="0" fromWordArt="0" anchor="ctr" anchorCtr="0" forceAA="0" compatLnSpc="1">
        <a:prstTxWarp prst="textNoShape">
          <a:avLst/>
        </a:prstTxWarp>
        <a:spAutoFit/>
      </a:bodyPr>
      <a:lstStyle>
        <a:defPPr algn="ctr">
          <a:defRPr dirty="0" smtClean="0"/>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arsh PPT Template - Blank.potx" id="{A6B37EA5-77C8-4E8F-8F78-7D4DB800700F}" vid="{11373399-FFAA-4798-BE06-D7939F57DF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ee542f3-4243-40a5-8766-6c46da2e0f8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D7FFD246AAA742AADEC07201DEA6A8" ma:contentTypeVersion="18" ma:contentTypeDescription="Create a new document." ma:contentTypeScope="" ma:versionID="50d8e0aef3655682742e225b6a6aa183">
  <xsd:schema xmlns:xsd="http://www.w3.org/2001/XMLSchema" xmlns:xs="http://www.w3.org/2001/XMLSchema" xmlns:p="http://schemas.microsoft.com/office/2006/metadata/properties" xmlns:ns3="567c76b1-b8fd-412e-bb4a-a253dc648dc1" xmlns:ns4="fee542f3-4243-40a5-8766-6c46da2e0f8f" targetNamespace="http://schemas.microsoft.com/office/2006/metadata/properties" ma:root="true" ma:fieldsID="545885ad556fb0a065676c7b2d3231ea" ns3:_="" ns4:_="">
    <xsd:import namespace="567c76b1-b8fd-412e-bb4a-a253dc648dc1"/>
    <xsd:import namespace="fee542f3-4243-40a5-8766-6c46da2e0f8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LengthInSeconds" minOccurs="0"/>
                <xsd:element ref="ns4:MediaServiceGenerationTime" minOccurs="0"/>
                <xsd:element ref="ns4:MediaServiceEventHashCode" minOccurs="0"/>
                <xsd:element ref="ns4:MediaServiceOCR" minOccurs="0"/>
                <xsd:element ref="ns4:MediaServiceLocation"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7c76b1-b8fd-412e-bb4a-a253dc648dc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e542f3-4243-40a5-8766-6c46da2e0f8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B03CB78-48CF-4F1A-BF4E-73645128E31D}">
  <ds:schemaRefs>
    <ds:schemaRef ds:uri="http://schemas.microsoft.com/sharepoint/v3/contenttype/forms"/>
  </ds:schemaRefs>
</ds:datastoreItem>
</file>

<file path=customXml/itemProps2.xml><?xml version="1.0" encoding="utf-8"?>
<ds:datastoreItem xmlns:ds="http://schemas.openxmlformats.org/officeDocument/2006/customXml" ds:itemID="{119EDD4F-F2B4-495A-9ADC-3486CFDA7B7C}">
  <ds:schemaRefs>
    <ds:schemaRef ds:uri="http://purl.org/dc/elements/1.1/"/>
    <ds:schemaRef ds:uri="http://schemas.microsoft.com/office/2006/metadata/properties"/>
    <ds:schemaRef ds:uri="567c76b1-b8fd-412e-bb4a-a253dc648dc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ee542f3-4243-40a5-8766-6c46da2e0f8f"/>
    <ds:schemaRef ds:uri="http://www.w3.org/XML/1998/namespace"/>
    <ds:schemaRef ds:uri="http://purl.org/dc/dcmitype/"/>
  </ds:schemaRefs>
</ds:datastoreItem>
</file>

<file path=customXml/itemProps3.xml><?xml version="1.0" encoding="utf-8"?>
<ds:datastoreItem xmlns:ds="http://schemas.openxmlformats.org/officeDocument/2006/customXml" ds:itemID="{942485D7-F225-4362-A03E-CCA22BBBA3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67c76b1-b8fd-412e-bb4a-a253dc648dc1"/>
    <ds:schemaRef ds:uri="fee542f3-4243-40a5-8766-6c46da2e0f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arsh Blank PPT Template</Template>
  <TotalTime>36810</TotalTime>
  <Words>1799</Words>
  <Application>Microsoft Office PowerPoint</Application>
  <PresentationFormat>Widescreen</PresentationFormat>
  <Paragraphs>138</Paragraphs>
  <Slides>18</Slides>
  <Notes>12</Notes>
  <HiddenSlides>0</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41" baseType="lpstr">
      <vt:lpstr>MS Gothic</vt:lpstr>
      <vt:lpstr>Arial</vt:lpstr>
      <vt:lpstr>Arial Black</vt:lpstr>
      <vt:lpstr>Arial Narrow</vt:lpstr>
      <vt:lpstr>Bradley Hand ITC</vt:lpstr>
      <vt:lpstr>Calibri</vt:lpstr>
      <vt:lpstr>Cooper Black</vt:lpstr>
      <vt:lpstr>Grifo S</vt:lpstr>
      <vt:lpstr>Lucida Handwriting</vt:lpstr>
      <vt:lpstr>Magneto</vt:lpstr>
      <vt:lpstr>Modern No. 20</vt:lpstr>
      <vt:lpstr>Mute Semibold</vt:lpstr>
      <vt:lpstr>MV Boli</vt:lpstr>
      <vt:lpstr>Open Sans</vt:lpstr>
      <vt:lpstr>Papyrus</vt:lpstr>
      <vt:lpstr>Poor Richard</vt:lpstr>
      <vt:lpstr>Proxima Nova</vt:lpstr>
      <vt:lpstr>Stencil</vt:lpstr>
      <vt:lpstr>System Font Regular</vt:lpstr>
      <vt:lpstr>Tahoma</vt:lpstr>
      <vt:lpstr>Wingdings</vt:lpstr>
      <vt:lpstr>Marsh</vt:lpstr>
      <vt:lpstr>think-cell Slide</vt:lpstr>
      <vt:lpstr>Social Media Risk</vt:lpstr>
      <vt:lpstr>Today’s Discussion</vt:lpstr>
      <vt:lpstr>Social Media is An Integral Part of Campus</vt:lpstr>
      <vt:lpstr>Positive Impacts</vt:lpstr>
      <vt:lpstr>US Surgeon General Advisory</vt:lpstr>
      <vt:lpstr>Student Social Media Risk</vt:lpstr>
      <vt:lpstr>Sooooo Many Apps!</vt:lpstr>
      <vt:lpstr>PowerPoint Presentation</vt:lpstr>
      <vt:lpstr>Social Media - Designed to be Addictive</vt:lpstr>
      <vt:lpstr>Social Media – May be Designed to be Addictive</vt:lpstr>
      <vt:lpstr>Health Impacts…</vt:lpstr>
      <vt:lpstr>Warning Signs</vt:lpstr>
      <vt:lpstr>Social Media Use - Faculty &amp; Staff</vt:lpstr>
      <vt:lpstr>Safety &amp; Security Concerns</vt:lpstr>
      <vt:lpstr>PowerPoint Presentation</vt:lpstr>
      <vt:lpstr>Resources</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llack, Scott C</dc:creator>
  <cp:lastModifiedBy>Smail, Cindy</cp:lastModifiedBy>
  <cp:revision>208</cp:revision>
  <dcterms:created xsi:type="dcterms:W3CDTF">2021-05-20T20:41:56Z</dcterms:created>
  <dcterms:modified xsi:type="dcterms:W3CDTF">2024-01-24T22:4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D7FFD246AAA742AADEC07201DEA6A8</vt:lpwstr>
  </property>
  <property fmtid="{D5CDD505-2E9C-101B-9397-08002B2CF9AE}" pid="3" name="MSIP_Label_38f1469a-2c2a-4aee-b92b-090d4c5468ff_Enabled">
    <vt:lpwstr>true</vt:lpwstr>
  </property>
  <property fmtid="{D5CDD505-2E9C-101B-9397-08002B2CF9AE}" pid="4" name="MSIP_Label_38f1469a-2c2a-4aee-b92b-090d4c5468ff_SetDate">
    <vt:lpwstr>2021-12-09T01:21:12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8867d980-3772-46ac-ac07-447147c74bdc</vt:lpwstr>
  </property>
  <property fmtid="{D5CDD505-2E9C-101B-9397-08002B2CF9AE}" pid="9" name="MSIP_Label_38f1469a-2c2a-4aee-b92b-090d4c5468ff_ContentBits">
    <vt:lpwstr>0</vt:lpwstr>
  </property>
</Properties>
</file>